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7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8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9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0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1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4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4"/>
    <p:sldMasterId id="2147483771" r:id="rId5"/>
    <p:sldMasterId id="2147483863" r:id="rId6"/>
    <p:sldMasterId id="2147483817" r:id="rId7"/>
    <p:sldMasterId id="2147483927" r:id="rId8"/>
    <p:sldMasterId id="2147483936" r:id="rId9"/>
    <p:sldMasterId id="2147483940" r:id="rId10"/>
    <p:sldMasterId id="2147483955" r:id="rId11"/>
    <p:sldMasterId id="2147483965" r:id="rId12"/>
    <p:sldMasterId id="2147483976" r:id="rId13"/>
    <p:sldMasterId id="2147483988" r:id="rId14"/>
    <p:sldMasterId id="2147484012" r:id="rId15"/>
    <p:sldMasterId id="2147484028" r:id="rId16"/>
    <p:sldMasterId id="2147484045" r:id="rId17"/>
    <p:sldMasterId id="2147484057" r:id="rId18"/>
  </p:sldMasterIdLst>
  <p:notesMasterIdLst>
    <p:notesMasterId r:id="rId53"/>
  </p:notesMasterIdLst>
  <p:handoutMasterIdLst>
    <p:handoutMasterId r:id="rId54"/>
  </p:handoutMasterIdLst>
  <p:sldIdLst>
    <p:sldId id="256" r:id="rId19"/>
    <p:sldId id="317" r:id="rId20"/>
    <p:sldId id="2145704678" r:id="rId21"/>
    <p:sldId id="332" r:id="rId22"/>
    <p:sldId id="2145704668" r:id="rId23"/>
    <p:sldId id="3624" r:id="rId24"/>
    <p:sldId id="348" r:id="rId25"/>
    <p:sldId id="2468" r:id="rId26"/>
    <p:sldId id="2463" r:id="rId27"/>
    <p:sldId id="2441" r:id="rId28"/>
    <p:sldId id="2145704410" r:id="rId29"/>
    <p:sldId id="2103" r:id="rId30"/>
    <p:sldId id="2420" r:id="rId31"/>
    <p:sldId id="2102" r:id="rId32"/>
    <p:sldId id="2439" r:id="rId33"/>
    <p:sldId id="2444" r:id="rId34"/>
    <p:sldId id="2445" r:id="rId35"/>
    <p:sldId id="2446" r:id="rId36"/>
    <p:sldId id="2448" r:id="rId37"/>
    <p:sldId id="2449" r:id="rId38"/>
    <p:sldId id="2447" r:id="rId39"/>
    <p:sldId id="2450" r:id="rId40"/>
    <p:sldId id="2145704669" r:id="rId41"/>
    <p:sldId id="2476" r:id="rId42"/>
    <p:sldId id="3639" r:id="rId43"/>
    <p:sldId id="342" r:id="rId44"/>
    <p:sldId id="2145704680" r:id="rId45"/>
    <p:sldId id="343" r:id="rId46"/>
    <p:sldId id="2145704674" r:id="rId47"/>
    <p:sldId id="2145704667" r:id="rId48"/>
    <p:sldId id="2145704610" r:id="rId49"/>
    <p:sldId id="2145704677" r:id="rId50"/>
    <p:sldId id="3625" r:id="rId51"/>
    <p:sldId id="318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92C21D-9C31-DAEC-E611-E76D7525B8BA}" name="Hannah.King" initials="H" userId="S::hlk63@open.ac.uk::a66496f2-2df4-4361-8801-89f9e25bfccb" providerId="AD"/>
  <p188:author id="{1BA85DC6-5D98-47BD-38B2-837D1EB570C4}" name="Eileen.Scanlon" initials="E" userId="S::es5@open.ac.uk::4aff7ccd-fc1b-4695-98f4-0f9664709d1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0645"/>
    <a:srgbClr val="FFD7FD"/>
    <a:srgbClr val="FF8A76"/>
    <a:srgbClr val="FFB4FF"/>
    <a:srgbClr val="D6FFF2"/>
    <a:srgbClr val="CAD2FF"/>
    <a:srgbClr val="FEE3E9"/>
    <a:srgbClr val="4F9AE9"/>
    <a:srgbClr val="8AFFD7"/>
    <a:srgbClr val="BA8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43" autoAdjust="0"/>
    <p:restoredTop sz="80611" autoAdjust="0"/>
  </p:normalViewPr>
  <p:slideViewPr>
    <p:cSldViewPr snapToGrid="0">
      <p:cViewPr varScale="1">
        <p:scale>
          <a:sx n="92" d="100"/>
          <a:sy n="92" d="100"/>
        </p:scale>
        <p:origin x="1314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9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118"/>
    </p:cViewPr>
  </p:sorterViewPr>
  <p:notesViewPr>
    <p:cSldViewPr snapToGrid="0">
      <p:cViewPr>
        <p:scale>
          <a:sx n="1" d="2"/>
          <a:sy n="1" d="2"/>
        </p:scale>
        <p:origin x="270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8.xml"/><Relationship Id="rId39" Type="http://schemas.openxmlformats.org/officeDocument/2006/relationships/slide" Target="slides/slide21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slide" Target="slides/slide24.xml"/><Relationship Id="rId47" Type="http://schemas.openxmlformats.org/officeDocument/2006/relationships/slide" Target="slides/slide29.xml"/><Relationship Id="rId50" Type="http://schemas.openxmlformats.org/officeDocument/2006/relationships/slide" Target="slides/slide32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slide" Target="slides/slide28.xml"/><Relationship Id="rId59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slide" Target="slides/slide23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slide" Target="slides/slide27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slide" Target="slides/slide31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4" Type="http://schemas.openxmlformats.org/officeDocument/2006/relationships/slide" Target="slides/slide26.xml"/><Relationship Id="rId52" Type="http://schemas.openxmlformats.org/officeDocument/2006/relationships/slide" Target="slides/slide34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slide" Target="slides/slide30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3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D50AFA1-2D98-83E6-6B45-1BA4EFFA09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Poppins" panose="00000500000000000000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292458-5F54-BBF5-A700-E864B64DF8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E0FF1-B4C8-4A7A-A50B-9837D279A5B3}" type="datetimeFigureOut">
              <a:rPr lang="en-GB" smtClean="0">
                <a:latin typeface="Poppins" panose="00000500000000000000" pitchFamily="2" charset="0"/>
              </a:rPr>
              <a:t>15/04/2024</a:t>
            </a:fld>
            <a:endParaRPr lang="en-GB">
              <a:latin typeface="Poppins" panose="00000500000000000000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685C0A-89EE-3D17-E818-2781A8FCA1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Poppins" panose="00000500000000000000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59F12D-2392-5BCA-470C-1326218C7E5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D0D4E1-3C06-412A-A8F6-CECF698F9984}" type="slidenum">
              <a:rPr lang="en-GB" smtClean="0">
                <a:latin typeface="Poppins" panose="00000500000000000000" pitchFamily="2" charset="0"/>
              </a:rPr>
              <a:t>‹#›</a:t>
            </a:fld>
            <a:endParaRPr lang="en-GB">
              <a:latin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81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oppins" panose="00000500000000000000" pitchFamily="2" charset="0"/>
              </a:defRPr>
            </a:lvl1pPr>
          </a:lstStyle>
          <a:p>
            <a:fld id="{816C2FE4-2A89-2C48-B077-AF8EE4693F31}" type="datetimeFigureOut">
              <a:rPr lang="en-US" smtClean="0"/>
              <a:pPr/>
              <a:t>4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oppins" panose="00000500000000000000" pitchFamily="2" charset="0"/>
              </a:defRPr>
            </a:lvl1pPr>
          </a:lstStyle>
          <a:p>
            <a:fld id="{8CCD80B4-3417-B74B-BDCD-C7836226A25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720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oppins" panose="000005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oppins" panose="000005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oppins" panose="000005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oppins" panose="000005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oppins" panose="000005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CD80B4-3417-B74B-BDCD-C7836226A25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8877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CD80B4-3417-B74B-BDCD-C7836226A258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1321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CD80B4-3417-B74B-BDCD-C7836226A2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9523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CD80B4-3417-B74B-BDCD-C7836226A258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9152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CD80B4-3417-B74B-BDCD-C7836226A2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40828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CD80B4-3417-B74B-BDCD-C7836226A2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7900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CD80B4-3417-B74B-BDCD-C7836226A258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4519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CD80B4-3417-B74B-BDCD-C7836226A258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485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CD80B4-3417-B74B-BDCD-C7836226A2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289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CD80B4-3417-B74B-BDCD-C7836226A2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056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CD80B4-3417-B74B-BDCD-C7836226A2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74830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CD80B4-3417-B74B-BDCD-C7836226A2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056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algn="l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algn="l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algn="l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algn="l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C2037-7561-47F5-82CA-BD162FD907A6}" type="slidenum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alt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34975" y="1249363"/>
            <a:ext cx="5994400" cy="3373437"/>
          </a:xfrm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746626"/>
            <a:ext cx="5492750" cy="44989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baseline="0" dirty="0"/>
          </a:p>
          <a:p>
            <a:pPr marL="342900" indent="-342900">
              <a:buFontTx/>
              <a:buChar char="-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5674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baseline="0" dirty="0"/>
          </a:p>
          <a:p>
            <a:pPr marL="0" indent="0">
              <a:buFontTx/>
              <a:buNone/>
            </a:pPr>
            <a:r>
              <a:rPr lang="en-GB" baseline="0" dirty="0"/>
              <a:t>How old is the oldest OU graduate? (</a:t>
            </a:r>
            <a:r>
              <a:rPr lang="en-GB" sz="2400" dirty="0">
                <a:latin typeface="Calibri"/>
                <a:ea typeface="Calibri"/>
                <a:cs typeface="Calibri"/>
                <a:sym typeface="Calibri"/>
              </a:rPr>
              <a:t>Clifford </a:t>
            </a:r>
            <a:r>
              <a:rPr lang="en-GB" sz="2400" dirty="0" err="1">
                <a:latin typeface="Calibri"/>
                <a:ea typeface="Calibri"/>
                <a:cs typeface="Calibri"/>
                <a:sym typeface="Calibri"/>
              </a:rPr>
              <a:t>Dadson</a:t>
            </a:r>
            <a:r>
              <a:rPr lang="en-GB" sz="2400" dirty="0">
                <a:latin typeface="Calibri"/>
                <a:ea typeface="Calibri"/>
                <a:cs typeface="Calibri"/>
                <a:sym typeface="Calibri"/>
              </a:rPr>
              <a:t> got a BA Open Degree in Arts in 2013 aged 93</a:t>
            </a:r>
            <a:r>
              <a:rPr lang="en-GB" baseline="0" dirty="0"/>
              <a:t>)</a:t>
            </a:r>
            <a:endParaRPr lang="en-GB" dirty="0"/>
          </a:p>
          <a:p>
            <a:pPr marL="342900" indent="-342900">
              <a:buFontTx/>
              <a:buChar char="-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69376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5352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6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8.pn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6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8" y="0"/>
            <a:ext cx="6098726" cy="3810000"/>
          </a:xfrm>
          <a:custGeom>
            <a:avLst/>
            <a:gdLst>
              <a:gd name="connsiteX0" fmla="*/ 1626032 w 7810500"/>
              <a:gd name="connsiteY0" fmla="*/ 0 h 3810000"/>
              <a:gd name="connsiteX1" fmla="*/ 6184468 w 7810500"/>
              <a:gd name="connsiteY1" fmla="*/ 0 h 3810000"/>
              <a:gd name="connsiteX2" fmla="*/ 7810500 w 7810500"/>
              <a:gd name="connsiteY2" fmla="*/ 1626032 h 3810000"/>
              <a:gd name="connsiteX3" fmla="*/ 7810500 w 7810500"/>
              <a:gd name="connsiteY3" fmla="*/ 3625329 h 3810000"/>
              <a:gd name="connsiteX4" fmla="*/ 7625829 w 7810500"/>
              <a:gd name="connsiteY4" fmla="*/ 3810000 h 3810000"/>
              <a:gd name="connsiteX5" fmla="*/ 184671 w 7810500"/>
              <a:gd name="connsiteY5" fmla="*/ 3810000 h 3810000"/>
              <a:gd name="connsiteX6" fmla="*/ 0 w 7810500"/>
              <a:gd name="connsiteY6" fmla="*/ 3625329 h 3810000"/>
              <a:gd name="connsiteX7" fmla="*/ 0 w 7810500"/>
              <a:gd name="connsiteY7" fmla="*/ 1626032 h 3810000"/>
              <a:gd name="connsiteX8" fmla="*/ 1626032 w 7810500"/>
              <a:gd name="connsiteY8" fmla="*/ 0 h 3810000"/>
              <a:gd name="connsiteX0" fmla="*/ 1626032 w 7810500"/>
              <a:gd name="connsiteY0" fmla="*/ 0 h 3810000"/>
              <a:gd name="connsiteX1" fmla="*/ 6184468 w 7810500"/>
              <a:gd name="connsiteY1" fmla="*/ 0 h 3810000"/>
              <a:gd name="connsiteX2" fmla="*/ 7810500 w 7810500"/>
              <a:gd name="connsiteY2" fmla="*/ 3625329 h 3810000"/>
              <a:gd name="connsiteX3" fmla="*/ 7625829 w 7810500"/>
              <a:gd name="connsiteY3" fmla="*/ 3810000 h 3810000"/>
              <a:gd name="connsiteX4" fmla="*/ 184671 w 7810500"/>
              <a:gd name="connsiteY4" fmla="*/ 3810000 h 3810000"/>
              <a:gd name="connsiteX5" fmla="*/ 0 w 7810500"/>
              <a:gd name="connsiteY5" fmla="*/ 3625329 h 3810000"/>
              <a:gd name="connsiteX6" fmla="*/ 0 w 7810500"/>
              <a:gd name="connsiteY6" fmla="*/ 1626032 h 3810000"/>
              <a:gd name="connsiteX7" fmla="*/ 1626032 w 7810500"/>
              <a:gd name="connsiteY7" fmla="*/ 0 h 3810000"/>
              <a:gd name="connsiteX0" fmla="*/ 1626032 w 7963808"/>
              <a:gd name="connsiteY0" fmla="*/ 0 h 3810000"/>
              <a:gd name="connsiteX1" fmla="*/ 6184468 w 7963808"/>
              <a:gd name="connsiteY1" fmla="*/ 0 h 3810000"/>
              <a:gd name="connsiteX2" fmla="*/ 7625829 w 7963808"/>
              <a:gd name="connsiteY2" fmla="*/ 3810000 h 3810000"/>
              <a:gd name="connsiteX3" fmla="*/ 184671 w 7963808"/>
              <a:gd name="connsiteY3" fmla="*/ 3810000 h 3810000"/>
              <a:gd name="connsiteX4" fmla="*/ 0 w 7963808"/>
              <a:gd name="connsiteY4" fmla="*/ 3625329 h 3810000"/>
              <a:gd name="connsiteX5" fmla="*/ 0 w 7963808"/>
              <a:gd name="connsiteY5" fmla="*/ 1626032 h 3810000"/>
              <a:gd name="connsiteX6" fmla="*/ 1626032 w 7963808"/>
              <a:gd name="connsiteY6" fmla="*/ 0 h 3810000"/>
              <a:gd name="connsiteX0" fmla="*/ 1626032 w 6876799"/>
              <a:gd name="connsiteY0" fmla="*/ 0 h 3810000"/>
              <a:gd name="connsiteX1" fmla="*/ 6184468 w 6876799"/>
              <a:gd name="connsiteY1" fmla="*/ 0 h 3810000"/>
              <a:gd name="connsiteX2" fmla="*/ 6063729 w 6876799"/>
              <a:gd name="connsiteY2" fmla="*/ 3797300 h 3810000"/>
              <a:gd name="connsiteX3" fmla="*/ 184671 w 6876799"/>
              <a:gd name="connsiteY3" fmla="*/ 3810000 h 3810000"/>
              <a:gd name="connsiteX4" fmla="*/ 0 w 6876799"/>
              <a:gd name="connsiteY4" fmla="*/ 3625329 h 3810000"/>
              <a:gd name="connsiteX5" fmla="*/ 0 w 6876799"/>
              <a:gd name="connsiteY5" fmla="*/ 1626032 h 3810000"/>
              <a:gd name="connsiteX6" fmla="*/ 1626032 w 6876799"/>
              <a:gd name="connsiteY6" fmla="*/ 0 h 3810000"/>
              <a:gd name="connsiteX0" fmla="*/ 1626032 w 6601473"/>
              <a:gd name="connsiteY0" fmla="*/ 0 h 3810000"/>
              <a:gd name="connsiteX1" fmla="*/ 6184468 w 6601473"/>
              <a:gd name="connsiteY1" fmla="*/ 0 h 3810000"/>
              <a:gd name="connsiteX2" fmla="*/ 6063729 w 6601473"/>
              <a:gd name="connsiteY2" fmla="*/ 3797300 h 3810000"/>
              <a:gd name="connsiteX3" fmla="*/ 184671 w 6601473"/>
              <a:gd name="connsiteY3" fmla="*/ 3810000 h 3810000"/>
              <a:gd name="connsiteX4" fmla="*/ 0 w 6601473"/>
              <a:gd name="connsiteY4" fmla="*/ 3625329 h 3810000"/>
              <a:gd name="connsiteX5" fmla="*/ 0 w 6601473"/>
              <a:gd name="connsiteY5" fmla="*/ 1626032 h 3810000"/>
              <a:gd name="connsiteX6" fmla="*/ 1626032 w 6601473"/>
              <a:gd name="connsiteY6" fmla="*/ 0 h 3810000"/>
              <a:gd name="connsiteX0" fmla="*/ 1626032 w 6605873"/>
              <a:gd name="connsiteY0" fmla="*/ 0 h 3810000"/>
              <a:gd name="connsiteX1" fmla="*/ 6184468 w 6605873"/>
              <a:gd name="connsiteY1" fmla="*/ 0 h 3810000"/>
              <a:gd name="connsiteX2" fmla="*/ 6082779 w 6605873"/>
              <a:gd name="connsiteY2" fmla="*/ 3802063 h 3810000"/>
              <a:gd name="connsiteX3" fmla="*/ 184671 w 6605873"/>
              <a:gd name="connsiteY3" fmla="*/ 3810000 h 3810000"/>
              <a:gd name="connsiteX4" fmla="*/ 0 w 6605873"/>
              <a:gd name="connsiteY4" fmla="*/ 3625329 h 3810000"/>
              <a:gd name="connsiteX5" fmla="*/ 0 w 6605873"/>
              <a:gd name="connsiteY5" fmla="*/ 1626032 h 3810000"/>
              <a:gd name="connsiteX6" fmla="*/ 1626032 w 6605873"/>
              <a:gd name="connsiteY6" fmla="*/ 0 h 3810000"/>
              <a:gd name="connsiteX0" fmla="*/ 1626032 w 6524678"/>
              <a:gd name="connsiteY0" fmla="*/ 6350 h 3816350"/>
              <a:gd name="connsiteX1" fmla="*/ 6076518 w 6524678"/>
              <a:gd name="connsiteY1" fmla="*/ 0 h 3816350"/>
              <a:gd name="connsiteX2" fmla="*/ 6082779 w 6524678"/>
              <a:gd name="connsiteY2" fmla="*/ 3808413 h 3816350"/>
              <a:gd name="connsiteX3" fmla="*/ 184671 w 6524678"/>
              <a:gd name="connsiteY3" fmla="*/ 3816350 h 3816350"/>
              <a:gd name="connsiteX4" fmla="*/ 0 w 6524678"/>
              <a:gd name="connsiteY4" fmla="*/ 3631679 h 3816350"/>
              <a:gd name="connsiteX5" fmla="*/ 0 w 6524678"/>
              <a:gd name="connsiteY5" fmla="*/ 1632382 h 3816350"/>
              <a:gd name="connsiteX6" fmla="*/ 1626032 w 6524678"/>
              <a:gd name="connsiteY6" fmla="*/ 6350 h 3816350"/>
              <a:gd name="connsiteX0" fmla="*/ 1626032 w 6087407"/>
              <a:gd name="connsiteY0" fmla="*/ 6350 h 3816350"/>
              <a:gd name="connsiteX1" fmla="*/ 6076518 w 6087407"/>
              <a:gd name="connsiteY1" fmla="*/ 0 h 3816350"/>
              <a:gd name="connsiteX2" fmla="*/ 6082779 w 6087407"/>
              <a:gd name="connsiteY2" fmla="*/ 3808413 h 3816350"/>
              <a:gd name="connsiteX3" fmla="*/ 184671 w 6087407"/>
              <a:gd name="connsiteY3" fmla="*/ 3816350 h 3816350"/>
              <a:gd name="connsiteX4" fmla="*/ 0 w 6087407"/>
              <a:gd name="connsiteY4" fmla="*/ 3631679 h 3816350"/>
              <a:gd name="connsiteX5" fmla="*/ 0 w 6087407"/>
              <a:gd name="connsiteY5" fmla="*/ 1632382 h 3816350"/>
              <a:gd name="connsiteX6" fmla="*/ 1626032 w 6087407"/>
              <a:gd name="connsiteY6" fmla="*/ 6350 h 3816350"/>
              <a:gd name="connsiteX0" fmla="*/ 1626032 w 6100891"/>
              <a:gd name="connsiteY0" fmla="*/ 0 h 3810000"/>
              <a:gd name="connsiteX1" fmla="*/ 6097949 w 6100891"/>
              <a:gd name="connsiteY1" fmla="*/ 794 h 3810000"/>
              <a:gd name="connsiteX2" fmla="*/ 6082779 w 6100891"/>
              <a:gd name="connsiteY2" fmla="*/ 3802063 h 3810000"/>
              <a:gd name="connsiteX3" fmla="*/ 184671 w 6100891"/>
              <a:gd name="connsiteY3" fmla="*/ 3810000 h 3810000"/>
              <a:gd name="connsiteX4" fmla="*/ 0 w 6100891"/>
              <a:gd name="connsiteY4" fmla="*/ 3625329 h 3810000"/>
              <a:gd name="connsiteX5" fmla="*/ 0 w 6100891"/>
              <a:gd name="connsiteY5" fmla="*/ 1626032 h 3810000"/>
              <a:gd name="connsiteX6" fmla="*/ 1626032 w 6100891"/>
              <a:gd name="connsiteY6" fmla="*/ 0 h 3810000"/>
              <a:gd name="connsiteX0" fmla="*/ 1626032 w 6098322"/>
              <a:gd name="connsiteY0" fmla="*/ 0 h 3810000"/>
              <a:gd name="connsiteX1" fmla="*/ 6097949 w 6098322"/>
              <a:gd name="connsiteY1" fmla="*/ 794 h 3810000"/>
              <a:gd name="connsiteX2" fmla="*/ 6082779 w 6098322"/>
              <a:gd name="connsiteY2" fmla="*/ 3802063 h 3810000"/>
              <a:gd name="connsiteX3" fmla="*/ 184671 w 6098322"/>
              <a:gd name="connsiteY3" fmla="*/ 3810000 h 3810000"/>
              <a:gd name="connsiteX4" fmla="*/ 0 w 6098322"/>
              <a:gd name="connsiteY4" fmla="*/ 3625329 h 3810000"/>
              <a:gd name="connsiteX5" fmla="*/ 0 w 6098322"/>
              <a:gd name="connsiteY5" fmla="*/ 1626032 h 3810000"/>
              <a:gd name="connsiteX6" fmla="*/ 1626032 w 6098322"/>
              <a:gd name="connsiteY6" fmla="*/ 0 h 3810000"/>
              <a:gd name="connsiteX0" fmla="*/ 1626032 w 6102062"/>
              <a:gd name="connsiteY0" fmla="*/ 0 h 3810000"/>
              <a:gd name="connsiteX1" fmla="*/ 6097949 w 6102062"/>
              <a:gd name="connsiteY1" fmla="*/ 794 h 3810000"/>
              <a:gd name="connsiteX2" fmla="*/ 6097066 w 6102062"/>
              <a:gd name="connsiteY2" fmla="*/ 3806825 h 3810000"/>
              <a:gd name="connsiteX3" fmla="*/ 184671 w 6102062"/>
              <a:gd name="connsiteY3" fmla="*/ 3810000 h 3810000"/>
              <a:gd name="connsiteX4" fmla="*/ 0 w 6102062"/>
              <a:gd name="connsiteY4" fmla="*/ 3625329 h 3810000"/>
              <a:gd name="connsiteX5" fmla="*/ 0 w 6102062"/>
              <a:gd name="connsiteY5" fmla="*/ 1626032 h 3810000"/>
              <a:gd name="connsiteX6" fmla="*/ 1626032 w 6102062"/>
              <a:gd name="connsiteY6" fmla="*/ 0 h 3810000"/>
              <a:gd name="connsiteX0" fmla="*/ 1626032 w 6098726"/>
              <a:gd name="connsiteY0" fmla="*/ 0 h 3810000"/>
              <a:gd name="connsiteX1" fmla="*/ 6097949 w 6098726"/>
              <a:gd name="connsiteY1" fmla="*/ 794 h 3810000"/>
              <a:gd name="connsiteX2" fmla="*/ 6097066 w 6098726"/>
              <a:gd name="connsiteY2" fmla="*/ 3806825 h 3810000"/>
              <a:gd name="connsiteX3" fmla="*/ 184671 w 6098726"/>
              <a:gd name="connsiteY3" fmla="*/ 3810000 h 3810000"/>
              <a:gd name="connsiteX4" fmla="*/ 0 w 6098726"/>
              <a:gd name="connsiteY4" fmla="*/ 3625329 h 3810000"/>
              <a:gd name="connsiteX5" fmla="*/ 0 w 6098726"/>
              <a:gd name="connsiteY5" fmla="*/ 1626032 h 3810000"/>
              <a:gd name="connsiteX6" fmla="*/ 1626032 w 6098726"/>
              <a:gd name="connsiteY6" fmla="*/ 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8726" h="3810000">
                <a:moveTo>
                  <a:pt x="1626032" y="0"/>
                </a:moveTo>
                <a:lnTo>
                  <a:pt x="6097949" y="794"/>
                </a:lnTo>
                <a:cubicBezTo>
                  <a:pt x="6100171" y="1699419"/>
                  <a:pt x="6096907" y="2640806"/>
                  <a:pt x="6097066" y="3806825"/>
                </a:cubicBezTo>
                <a:lnTo>
                  <a:pt x="184671" y="3810000"/>
                </a:lnTo>
                <a:cubicBezTo>
                  <a:pt x="82680" y="3810000"/>
                  <a:pt x="0" y="3727320"/>
                  <a:pt x="0" y="3625329"/>
                </a:cubicBezTo>
                <a:lnTo>
                  <a:pt x="0" y="1626032"/>
                </a:lnTo>
                <a:cubicBezTo>
                  <a:pt x="0" y="727999"/>
                  <a:pt x="727999" y="0"/>
                  <a:pt x="1626032" y="0"/>
                </a:cubicBezTo>
                <a:close/>
              </a:path>
            </a:pathLst>
          </a:custGeom>
        </p:spPr>
        <p:txBody>
          <a:bodyPr>
            <a:norm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828ED38-053B-074D-A6A5-1C9374EA7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810000"/>
            <a:ext cx="6096000" cy="3048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5F86F0A-6A1A-3248-8370-3930F88101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557585" cy="1800200"/>
          </a:xfr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Front Cover Title Goes Her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1B5291B-A0B5-0A34-5C7E-79E2E3F68A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8" y="2431330"/>
            <a:ext cx="5557584" cy="1305402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8D5457D4-902F-B0A0-0CA3-AB0C3D54F7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208" y="3846892"/>
            <a:ext cx="5557584" cy="347039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ers nam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14F31047-4864-D68A-2944-4FD900DC04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8" y="4198584"/>
            <a:ext cx="5557584" cy="347039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epartment nam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04D3CA51-9B82-D8B8-96F1-42FE5F9B17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208" y="4545623"/>
            <a:ext cx="5557584" cy="347039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pic>
        <p:nvPicPr>
          <p:cNvPr id="14" name="Picture 13" descr="The Open University Logo">
            <a:extLst>
              <a:ext uri="{FF2B5EF4-FFF2-40B4-BE49-F238E27FC236}">
                <a16:creationId xmlns:a16="http://schemas.microsoft.com/office/drawing/2014/main" id="{41C1F544-4F91-82A6-00C9-2CD07BD90F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5" y="5829301"/>
            <a:ext cx="1709992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852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1" y="1"/>
            <a:ext cx="3504968" cy="5119768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9A59EDF-990B-8A48-B3FB-ACAE78C6BE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0969" y="0"/>
            <a:ext cx="2599267" cy="511976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ED42EAE-A272-8E42-8B7F-417A3B4E7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C18FF0-D05E-863E-8223-ABAFDFA6D7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A3160A-FC53-80DA-EFCD-287B9BC384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3395955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380854" cy="685800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B06383-A6CB-5648-834D-B48F237057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761708" y="1715146"/>
            <a:ext cx="5145438" cy="1715146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633B3489-D726-D446-9A29-05672FA50E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A7E64E4-287C-1FCE-9776-59EE01B204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2966699-83CA-1202-E4B3-09DCD56EA7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1663733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1" y="1"/>
            <a:ext cx="3504968" cy="5119768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9A59EDF-990B-8A48-B3FB-ACAE78C6BE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0969" y="0"/>
            <a:ext cx="2599267" cy="511976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ED42EAE-A272-8E42-8B7F-417A3B4E7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C18FF0-D05E-863E-8223-ABAFDFA6D7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A3160A-FC53-80DA-EFCD-287B9BC384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35622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ED42EAE-A272-8E42-8B7F-417A3B4E7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C18FF0-D05E-863E-8223-ABAFDFA6D7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10774418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A3160A-FC53-80DA-EFCD-287B9BC384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9754968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1522099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22950F0-F837-3643-8F3C-58187D933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FD82CE-01EC-B1CB-A6FD-FB39AAE27B82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6F70F55-5634-E0E4-19BE-00F2336FEF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pic>
        <p:nvPicPr>
          <p:cNvPr id="7" name="Picture 6" descr="The Open University Logo">
            <a:extLst>
              <a:ext uri="{FF2B5EF4-FFF2-40B4-BE49-F238E27FC236}">
                <a16:creationId xmlns:a16="http://schemas.microsoft.com/office/drawing/2014/main" id="{1A8FBF3E-643E-C283-20B7-9D35C17A87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739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145810"/>
            <a:ext cx="10261817" cy="1087297"/>
          </a:xfrm>
        </p:spPr>
        <p:txBody>
          <a:bodyPr anchor="t" anchorCtr="0">
            <a:normAutofit/>
          </a:bodyPr>
          <a:lstStyle>
            <a:lvl1pPr algn="l">
              <a:defRPr sz="4000" b="1" i="0">
                <a:solidFill>
                  <a:srgbClr val="1B5C81"/>
                </a:solidFill>
                <a:latin typeface="Open Sans"/>
                <a:cs typeface="Open Sans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06724"/>
            <a:ext cx="10972800" cy="44355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811519"/>
                </a:solidFill>
              </a:defRPr>
            </a:lvl1pPr>
            <a:lvl2pPr>
              <a:lnSpc>
                <a:spcPct val="100000"/>
              </a:lnSpc>
              <a:defRPr>
                <a:solidFill>
                  <a:srgbClr val="811519"/>
                </a:solidFill>
              </a:defRPr>
            </a:lvl2pPr>
            <a:lvl3pPr>
              <a:lnSpc>
                <a:spcPct val="100000"/>
              </a:lnSpc>
              <a:defRPr>
                <a:solidFill>
                  <a:srgbClr val="811519"/>
                </a:solidFill>
              </a:defRPr>
            </a:lvl3pPr>
            <a:lvl4pPr>
              <a:lnSpc>
                <a:spcPct val="100000"/>
              </a:lnSpc>
              <a:defRPr>
                <a:solidFill>
                  <a:srgbClr val="811519"/>
                </a:solidFill>
              </a:defRPr>
            </a:lvl4pPr>
            <a:lvl5pPr>
              <a:lnSpc>
                <a:spcPct val="100000"/>
              </a:lnSpc>
              <a:defRPr>
                <a:solidFill>
                  <a:srgbClr val="811519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0814A-8928-A348-8476-6C2492BA98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24535" y="6693871"/>
            <a:ext cx="12480000" cy="176121"/>
          </a:xfrm>
          <a:prstGeom prst="rect">
            <a:avLst/>
          </a:prstGeom>
          <a:solidFill>
            <a:srgbClr val="D6D3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Picture 7" descr="kmi-logo-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947" y="5866502"/>
            <a:ext cx="2093773" cy="72176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9B5C008-2B24-644B-98C0-9182B9CFC6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20176" y="58405"/>
            <a:ext cx="1071824" cy="74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20282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layout - 3 colum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body" idx="1"/>
          </p:nvPr>
        </p:nvSpPr>
        <p:spPr>
          <a:xfrm>
            <a:off x="575999" y="1440001"/>
            <a:ext cx="2880000" cy="5418001"/>
          </a:xfrm>
          <a:prstGeom prst="rect">
            <a:avLst/>
          </a:prstGeom>
        </p:spPr>
        <p:txBody>
          <a:bodyPr/>
          <a:lstStyle>
            <a:lvl2pPr marL="685782" indent="-228593">
              <a:buSzPct val="100000"/>
              <a:buChar char="•"/>
            </a:lvl2pPr>
            <a:lvl3pPr marL="1142971" indent="-228593">
              <a:buSzPct val="100000"/>
              <a:buChar char="•"/>
            </a:lvl3pPr>
            <a:lvl4pPr marL="1600159" indent="-228593">
              <a:buSzPct val="100000"/>
              <a:buChar char="•"/>
            </a:lvl4pPr>
            <a:lvl5pPr marL="2057349" indent="-228593">
              <a:buSzPct val="100000"/>
              <a:buChar char="•"/>
            </a:lvl5pPr>
          </a:lstStyle>
          <a:p>
            <a:pPr lvl="0">
              <a:defRPr sz="1800"/>
            </a:pPr>
            <a:r>
              <a:rPr sz="1200"/>
              <a:t>Body Level One</a:t>
            </a:r>
          </a:p>
          <a:p>
            <a:pPr lvl="1">
              <a:defRPr sz="1800"/>
            </a:pPr>
            <a:r>
              <a:rPr sz="1200"/>
              <a:t>Body Level Two</a:t>
            </a:r>
          </a:p>
          <a:p>
            <a:pPr lvl="2">
              <a:defRPr sz="1800"/>
            </a:pPr>
            <a:r>
              <a:rPr sz="1200"/>
              <a:t>Body Level Three</a:t>
            </a:r>
          </a:p>
          <a:p>
            <a:pPr lvl="3">
              <a:defRPr sz="1800"/>
            </a:pPr>
            <a:r>
              <a:rPr sz="1200"/>
              <a:t>Body Level Four</a:t>
            </a:r>
          </a:p>
          <a:p>
            <a:pPr lvl="4">
              <a:defRPr sz="1800"/>
            </a:pPr>
            <a:r>
              <a:rPr sz="1200"/>
              <a:t>Body Level Five</a:t>
            </a:r>
          </a:p>
        </p:txBody>
      </p:sp>
      <p:sp>
        <p:nvSpPr>
          <p:cNvPr id="73" name="Shape 73"/>
          <p:cNvSpPr>
            <a:spLocks noGrp="1"/>
          </p:cNvSpPr>
          <p:nvPr>
            <p:ph type="title"/>
          </p:nvPr>
        </p:nvSpPr>
        <p:spPr>
          <a:xfrm>
            <a:off x="518404" y="1"/>
            <a:ext cx="1680001" cy="1349236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1400">
                <a:solidFill>
                  <a:srgbClr val="FFFFFF"/>
                </a:solidFill>
              </a:rPr>
              <a:t>Title Tex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6371C-2DFF-6C41-8678-201E10BDCF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78732" y="320696"/>
            <a:ext cx="921289" cy="605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211887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3371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- jus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609570" indent="0">
              <a:buNone/>
              <a:defRPr sz="1600"/>
            </a:lvl2pPr>
            <a:lvl3pPr marL="1219139" indent="0">
              <a:buNone/>
              <a:defRPr sz="1600"/>
            </a:lvl3pPr>
            <a:lvl4pPr marL="1828709" indent="0">
              <a:buNone/>
              <a:defRPr sz="1600"/>
            </a:lvl4pPr>
            <a:lvl5pPr marL="2438278" indent="0">
              <a:buNone/>
              <a:defRPr sz="1600"/>
            </a:lvl5pPr>
          </a:lstStyle>
          <a:p>
            <a:pPr lvl="0"/>
            <a:r>
              <a:rPr lang="en-US"/>
              <a:t>Body text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58237344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5">
            <a:extLst>
              <a:ext uri="{FF2B5EF4-FFF2-40B4-BE49-F238E27FC236}">
                <a16:creationId xmlns:a16="http://schemas.microsoft.com/office/drawing/2014/main" id="{23137FAB-50F3-4D4D-8D9C-96A960995EA2}"/>
              </a:ext>
            </a:extLst>
          </p:cNvPr>
          <p:cNvSpPr/>
          <p:nvPr userDrawn="1"/>
        </p:nvSpPr>
        <p:spPr>
          <a:xfrm flipV="1">
            <a:off x="342490" y="-4"/>
            <a:ext cx="11849511" cy="5598626"/>
          </a:xfrm>
          <a:custGeom>
            <a:avLst/>
            <a:gdLst>
              <a:gd name="connsiteX0" fmla="*/ 0 w 11849511"/>
              <a:gd name="connsiteY0" fmla="*/ 5598626 h 5598626"/>
              <a:gd name="connsiteX1" fmla="*/ 5242441 w 11849511"/>
              <a:gd name="connsiteY1" fmla="*/ 5598626 h 5598626"/>
              <a:gd name="connsiteX2" fmla="*/ 7795497 w 11849511"/>
              <a:gd name="connsiteY2" fmla="*/ 718408 h 5598626"/>
              <a:gd name="connsiteX3" fmla="*/ 11443683 w 11849511"/>
              <a:gd name="connsiteY3" fmla="*/ 2246863 h 5598626"/>
              <a:gd name="connsiteX4" fmla="*/ 11849511 w 11849511"/>
              <a:gd name="connsiteY4" fmla="*/ 2520015 h 5598626"/>
              <a:gd name="connsiteX5" fmla="*/ 11849511 w 11849511"/>
              <a:gd name="connsiteY5" fmla="*/ 1154733 h 5598626"/>
              <a:gd name="connsiteX6" fmla="*/ 11598119 w 11849511"/>
              <a:gd name="connsiteY6" fmla="*/ 1052618 h 5598626"/>
              <a:gd name="connsiteX7" fmla="*/ 6642904 w 11849511"/>
              <a:gd name="connsiteY7" fmla="*/ 0 h 5598626"/>
              <a:gd name="connsiteX8" fmla="*/ 0 w 11849511"/>
              <a:gd name="connsiteY8" fmla="*/ 5598626 h 5598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849511" h="5598626">
                <a:moveTo>
                  <a:pt x="0" y="5598626"/>
                </a:moveTo>
                <a:lnTo>
                  <a:pt x="5242441" y="5598626"/>
                </a:lnTo>
                <a:cubicBezTo>
                  <a:pt x="5242441" y="5598626"/>
                  <a:pt x="4635162" y="718408"/>
                  <a:pt x="7795497" y="718408"/>
                </a:cubicBezTo>
                <a:cubicBezTo>
                  <a:pt x="8980624" y="718408"/>
                  <a:pt x="10164008" y="1397721"/>
                  <a:pt x="11443683" y="2246863"/>
                </a:cubicBezTo>
                <a:lnTo>
                  <a:pt x="11849511" y="2520015"/>
                </a:lnTo>
                <a:lnTo>
                  <a:pt x="11849511" y="1154733"/>
                </a:lnTo>
                <a:lnTo>
                  <a:pt x="11598119" y="1052618"/>
                </a:lnTo>
                <a:cubicBezTo>
                  <a:pt x="10085993" y="455186"/>
                  <a:pt x="8444994" y="0"/>
                  <a:pt x="6642904" y="0"/>
                </a:cubicBezTo>
                <a:cubicBezTo>
                  <a:pt x="1388069" y="0"/>
                  <a:pt x="0" y="5598626"/>
                  <a:pt x="0" y="559862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720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>
              <a:latin typeface="Arial" panose="020B0604020202020204" pitchFamily="34" charset="0"/>
            </a:endParaRPr>
          </a:p>
        </p:txBody>
      </p:sp>
      <p:pic>
        <p:nvPicPr>
          <p:cNvPr id="17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553D5FB2-8464-0541-9856-C5575CAA9E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600" b="36176"/>
          <a:stretch/>
        </p:blipFill>
        <p:spPr>
          <a:xfrm>
            <a:off x="10192631" y="6393435"/>
            <a:ext cx="1649503" cy="25864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B30B5E0-ECC2-FB49-8184-74E272C54129}"/>
              </a:ext>
            </a:extLst>
          </p:cNvPr>
          <p:cNvSpPr/>
          <p:nvPr userDrawn="1"/>
        </p:nvSpPr>
        <p:spPr bwMode="gray">
          <a:xfrm>
            <a:off x="312510" y="6483975"/>
            <a:ext cx="254349" cy="168101"/>
          </a:xfrm>
          <a:prstGeom prst="rect">
            <a:avLst/>
          </a:prstGeom>
        </p:spPr>
        <p:txBody>
          <a:bodyPr vert="horz" lIns="0" tIns="18000" rIns="0" bIns="18000" rtlCol="0" anchor="ctr" anchorCtr="0">
            <a:noAutofit/>
          </a:bodyPr>
          <a:lstStyle/>
          <a:p>
            <a:pPr lvl="0" algn="r"/>
            <a:fld id="{7A58C72A-FAEE-4A7B-812F-151929DEA70F}" type="slidenum">
              <a:rPr lang="en-US" sz="800" b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0" algn="r"/>
              <a:t>‹#›</a:t>
            </a:fld>
            <a:endParaRPr lang="en-US" sz="800" b="0">
              <a:solidFill>
                <a:schemeClr val="tx1">
                  <a:lumMod val="50000"/>
                  <a:lumOff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606AAE1-9D8D-1142-9AA5-9CB56AD5E65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07142" y="6491233"/>
            <a:ext cx="3996000" cy="160844"/>
          </a:xfrm>
          <a:prstGeom prst="rect">
            <a:avLst/>
          </a:prstGeom>
        </p:spPr>
        <p:txBody>
          <a:bodyPr vert="horz" lIns="0" tIns="18000" rIns="0" bIns="18000" rtlCol="0" anchor="ctr" anchorCtr="0">
            <a:noAutofit/>
          </a:bodyPr>
          <a:lstStyle/>
          <a:p>
            <a:pPr lvl="0" algn="l"/>
            <a:r>
              <a:rPr lang="en-GB" sz="800" b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© Infosys Consulting 2021</a:t>
            </a:r>
            <a:endParaRPr lang="en-US" sz="800" b="0">
              <a:solidFill>
                <a:schemeClr val="tx1">
                  <a:lumMod val="50000"/>
                  <a:lumOff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483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0044" y="1182914"/>
            <a:ext cx="11541919" cy="4837039"/>
          </a:xfrm>
          <a:prstGeom prst="rect">
            <a:avLst/>
          </a:prstGeom>
        </p:spPr>
        <p:txBody>
          <a:bodyPr lIns="0" tIns="0" rIns="0" bIns="0"/>
          <a:lstStyle>
            <a:lvl1pPr marL="112713" marR="0" indent="-112713" algn="l" defTabSz="4572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600" b="0" i="0" u="none" strike="noStrike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1pPr>
            <a:lvl2pPr marL="511175" indent="-285750">
              <a:buFont typeface="Courier New" charset="0"/>
              <a:buChar char="o"/>
              <a:defRPr lang="en-US" sz="1600" b="0" i="0" u="none" strike="noStrike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2pPr>
            <a:lvl3pPr marL="746125" indent="-171450">
              <a:buFont typeface="Wingdings" charset="2"/>
              <a:buChar char="§"/>
              <a:defRPr lang="en-US" sz="1600" b="0" i="0" u="none" strike="noStrike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3pPr>
            <a:lvl4pPr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>
              <a:defRPr>
                <a:latin typeface="Arial" charset="0"/>
                <a:ea typeface="Arial" charset="0"/>
                <a:cs typeface="Arial" charset="0"/>
              </a:defRPr>
            </a:lvl6pPr>
            <a:lvl7pPr>
              <a:defRPr>
                <a:latin typeface="Arial" charset="0"/>
                <a:ea typeface="Arial" charset="0"/>
                <a:cs typeface="Arial" charset="0"/>
              </a:defRPr>
            </a:lvl7pPr>
            <a:lvl8pPr>
              <a:defRPr>
                <a:latin typeface="Arial" charset="0"/>
                <a:ea typeface="Arial" charset="0"/>
                <a:cs typeface="Arial" charset="0"/>
              </a:defRPr>
            </a:lvl8pPr>
            <a:lvl9pPr>
              <a:defRPr>
                <a:latin typeface="Arial" charset="0"/>
                <a:ea typeface="Arial" charset="0"/>
                <a:cs typeface="Arial" charset="0"/>
              </a:defRPr>
            </a:lvl9pPr>
          </a:lstStyle>
          <a:p>
            <a:pPr lvl="0"/>
            <a:r>
              <a:rPr lang="en-US"/>
              <a:t>Click to edit text. Use the buttons “Increase List Level” and “Decrease List Level” for </a:t>
            </a:r>
            <a:r>
              <a:rPr lang="en-US" err="1"/>
              <a:t>copytext</a:t>
            </a:r>
            <a:r>
              <a:rPr lang="en-US"/>
              <a:t> or bullet levels.</a:t>
            </a:r>
          </a:p>
          <a:p>
            <a:pPr marL="400050" marR="0" lvl="1" indent="-174625" algn="l" defTabSz="4572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</a:pPr>
            <a:r>
              <a:rPr lang="en-US"/>
              <a:t>Second level</a:t>
            </a:r>
          </a:p>
          <a:p>
            <a:pPr marL="739775" marR="0" lvl="2" indent="-165100" algn="l" defTabSz="4572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</a:pPr>
            <a:r>
              <a:rPr lang="en-US"/>
              <a:t>Third level</a:t>
            </a:r>
          </a:p>
        </p:txBody>
      </p:sp>
      <p:sp>
        <p:nvSpPr>
          <p:cNvPr id="19" name="Shape 40"/>
          <p:cNvSpPr>
            <a:spLocks noGrp="1"/>
          </p:cNvSpPr>
          <p:nvPr>
            <p:ph type="title" hasCustomPrompt="1"/>
          </p:nvPr>
        </p:nvSpPr>
        <p:spPr>
          <a:xfrm>
            <a:off x="349072" y="160320"/>
            <a:ext cx="11543008" cy="4068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49658" y="565422"/>
            <a:ext cx="11542305" cy="212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rgbClr val="53535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398529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C4D0DBB-988A-6342-8902-0563E9803C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5119" y="404664"/>
            <a:ext cx="471531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s Title 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AD27DD2-BE62-DA40-8EBD-559298C562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12873" y="1539489"/>
            <a:ext cx="4014180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 Chapter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254454E-2B5C-B046-98EC-9A0A923749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2873" y="2882868"/>
            <a:ext cx="4014180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 Chapter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AB826CD5-5C92-B242-BB8B-DD1F577280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75119" y="1539489"/>
            <a:ext cx="747051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9A813DF2-0556-7B4C-A30B-8A7253CE58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75119" y="2881839"/>
            <a:ext cx="747051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3B3B649-1EB8-9846-A24F-3002667E74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51118"/>
            <a:ext cx="4613762" cy="2306881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3BBE70E-03E7-644A-BA5E-E3A0B91311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22170" y="1896175"/>
            <a:ext cx="3118585" cy="810811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buFontTx/>
              <a:buBlip>
                <a:blip r:embed="rId3"/>
              </a:buBlip>
              <a:defRPr sz="15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-Content 01</a:t>
            </a:r>
          </a:p>
          <a:p>
            <a:pPr lvl="0"/>
            <a:r>
              <a:rPr lang="en-GB"/>
              <a:t>Sub-Content 02</a:t>
            </a:r>
          </a:p>
          <a:p>
            <a:pPr lvl="0"/>
            <a:r>
              <a:rPr lang="en-GB"/>
              <a:t>Sub-Content 03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B1D217B3-A93E-1105-52D4-A2BC7A46BC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01" y="1"/>
            <a:ext cx="4611462" cy="4551117"/>
          </a:xfrm>
          <a:custGeom>
            <a:avLst/>
            <a:gdLst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0 w 9061155"/>
              <a:gd name="connsiteY7" fmla="*/ 19423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4449693 w 9061155"/>
              <a:gd name="connsiteY5" fmla="*/ 45384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5191279"/>
              <a:gd name="connsiteX1" fmla="*/ 7118829 w 9061155"/>
              <a:gd name="connsiteY1" fmla="*/ 0 h 5191279"/>
              <a:gd name="connsiteX2" fmla="*/ 9061155 w 9061155"/>
              <a:gd name="connsiteY2" fmla="*/ 1942326 h 5191279"/>
              <a:gd name="connsiteX3" fmla="*/ 9061155 w 9061155"/>
              <a:gd name="connsiteY3" fmla="*/ 4330524 h 5191279"/>
              <a:gd name="connsiteX4" fmla="*/ 8840562 w 9061155"/>
              <a:gd name="connsiteY4" fmla="*/ 4551117 h 5191279"/>
              <a:gd name="connsiteX5" fmla="*/ 4449693 w 9061155"/>
              <a:gd name="connsiteY5" fmla="*/ 4538417 h 5191279"/>
              <a:gd name="connsiteX6" fmla="*/ 0 w 9061155"/>
              <a:gd name="connsiteY6" fmla="*/ 4330524 h 5191279"/>
              <a:gd name="connsiteX7" fmla="*/ 1905000 w 9061155"/>
              <a:gd name="connsiteY7" fmla="*/ 1955026 h 5191279"/>
              <a:gd name="connsiteX8" fmla="*/ 1942326 w 9061155"/>
              <a:gd name="connsiteY8" fmla="*/ 0 h 5191279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4449693 w 9061155"/>
              <a:gd name="connsiteY5" fmla="*/ 45384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9669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9669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34815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34815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3481566 w 8085795"/>
              <a:gd name="connsiteY7" fmla="*/ 0 h 4551117"/>
              <a:gd name="connsiteX0" fmla="*/ 451391 w 5055620"/>
              <a:gd name="connsiteY0" fmla="*/ 0 h 4551117"/>
              <a:gd name="connsiteX1" fmla="*/ 3113294 w 5055620"/>
              <a:gd name="connsiteY1" fmla="*/ 0 h 4551117"/>
              <a:gd name="connsiteX2" fmla="*/ 5055620 w 5055620"/>
              <a:gd name="connsiteY2" fmla="*/ 1942326 h 4551117"/>
              <a:gd name="connsiteX3" fmla="*/ 5055620 w 5055620"/>
              <a:gd name="connsiteY3" fmla="*/ 4330524 h 4551117"/>
              <a:gd name="connsiteX4" fmla="*/ 4835027 w 5055620"/>
              <a:gd name="connsiteY4" fmla="*/ 4551117 h 4551117"/>
              <a:gd name="connsiteX5" fmla="*/ 444158 w 5055620"/>
              <a:gd name="connsiteY5" fmla="*/ 4538417 h 4551117"/>
              <a:gd name="connsiteX6" fmla="*/ 451391 w 5055620"/>
              <a:gd name="connsiteY6" fmla="*/ 0 h 4551117"/>
              <a:gd name="connsiteX0" fmla="*/ 330721 w 4934950"/>
              <a:gd name="connsiteY0" fmla="*/ 0 h 4551117"/>
              <a:gd name="connsiteX1" fmla="*/ 2992624 w 4934950"/>
              <a:gd name="connsiteY1" fmla="*/ 0 h 4551117"/>
              <a:gd name="connsiteX2" fmla="*/ 4934950 w 4934950"/>
              <a:gd name="connsiteY2" fmla="*/ 1942326 h 4551117"/>
              <a:gd name="connsiteX3" fmla="*/ 4934950 w 4934950"/>
              <a:gd name="connsiteY3" fmla="*/ 4330524 h 4551117"/>
              <a:gd name="connsiteX4" fmla="*/ 4714357 w 4934950"/>
              <a:gd name="connsiteY4" fmla="*/ 4551117 h 4551117"/>
              <a:gd name="connsiteX5" fmla="*/ 323488 w 4934950"/>
              <a:gd name="connsiteY5" fmla="*/ 4538417 h 4551117"/>
              <a:gd name="connsiteX6" fmla="*/ 330721 w 4934950"/>
              <a:gd name="connsiteY6" fmla="*/ 0 h 4551117"/>
              <a:gd name="connsiteX0" fmla="*/ 7233 w 4611462"/>
              <a:gd name="connsiteY0" fmla="*/ 0 h 4551117"/>
              <a:gd name="connsiteX1" fmla="*/ 2669136 w 4611462"/>
              <a:gd name="connsiteY1" fmla="*/ 0 h 4551117"/>
              <a:gd name="connsiteX2" fmla="*/ 4611462 w 4611462"/>
              <a:gd name="connsiteY2" fmla="*/ 1942326 h 4551117"/>
              <a:gd name="connsiteX3" fmla="*/ 4611462 w 4611462"/>
              <a:gd name="connsiteY3" fmla="*/ 4330524 h 4551117"/>
              <a:gd name="connsiteX4" fmla="*/ 4390869 w 4611462"/>
              <a:gd name="connsiteY4" fmla="*/ 4551117 h 4551117"/>
              <a:gd name="connsiteX5" fmla="*/ 0 w 4611462"/>
              <a:gd name="connsiteY5" fmla="*/ 4538417 h 4551117"/>
              <a:gd name="connsiteX6" fmla="*/ 7233 w 4611462"/>
              <a:gd name="connsiteY6" fmla="*/ 0 h 4551117"/>
              <a:gd name="connsiteX0" fmla="*/ 7233 w 4611462"/>
              <a:gd name="connsiteY0" fmla="*/ 0 h 4551117"/>
              <a:gd name="connsiteX1" fmla="*/ 2669136 w 4611462"/>
              <a:gd name="connsiteY1" fmla="*/ 0 h 4551117"/>
              <a:gd name="connsiteX2" fmla="*/ 4611462 w 4611462"/>
              <a:gd name="connsiteY2" fmla="*/ 1942326 h 4551117"/>
              <a:gd name="connsiteX3" fmla="*/ 4611462 w 4611462"/>
              <a:gd name="connsiteY3" fmla="*/ 4330524 h 4551117"/>
              <a:gd name="connsiteX4" fmla="*/ 4390869 w 4611462"/>
              <a:gd name="connsiteY4" fmla="*/ 4551117 h 4551117"/>
              <a:gd name="connsiteX5" fmla="*/ 0 w 4611462"/>
              <a:gd name="connsiteY5" fmla="*/ 4538417 h 4551117"/>
              <a:gd name="connsiteX6" fmla="*/ 7233 w 4611462"/>
              <a:gd name="connsiteY6" fmla="*/ 0 h 4551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11462" h="4551117">
                <a:moveTo>
                  <a:pt x="7233" y="0"/>
                </a:moveTo>
                <a:lnTo>
                  <a:pt x="2669136" y="0"/>
                </a:lnTo>
                <a:cubicBezTo>
                  <a:pt x="3741853" y="0"/>
                  <a:pt x="4611462" y="869609"/>
                  <a:pt x="4611462" y="1942326"/>
                </a:cubicBezTo>
                <a:lnTo>
                  <a:pt x="4611462" y="4330524"/>
                </a:lnTo>
                <a:cubicBezTo>
                  <a:pt x="4611462" y="4452354"/>
                  <a:pt x="4512699" y="4551117"/>
                  <a:pt x="4390869" y="4551117"/>
                </a:cubicBezTo>
                <a:lnTo>
                  <a:pt x="0" y="4538417"/>
                </a:lnTo>
                <a:cubicBezTo>
                  <a:pt x="8534" y="3642738"/>
                  <a:pt x="4337" y="1106923"/>
                  <a:pt x="7233" y="0"/>
                </a:cubicBezTo>
                <a:close/>
              </a:path>
            </a:pathLst>
          </a:cu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54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ED42EAE-A272-8E42-8B7F-417A3B4E7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C18FF0-D05E-863E-8223-ABAFDFA6D7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10774418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A3160A-FC53-80DA-EFCD-287B9BC384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9754968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370562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ayout - contents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"/>
          <p:cNvSpPr/>
          <p:nvPr/>
        </p:nvSpPr>
        <p:spPr>
          <a:xfrm>
            <a:off x="9900355" y="6209567"/>
            <a:ext cx="2303151" cy="655067"/>
          </a:xfrm>
          <a:prstGeom prst="rect">
            <a:avLst/>
          </a:prstGeom>
          <a:solidFill>
            <a:srgbClr val="1F4D9B"/>
          </a:solidFill>
          <a:ln w="12700">
            <a:solidFill>
              <a:schemeClr val="accent1"/>
            </a:solidFill>
            <a:miter/>
          </a:ln>
        </p:spPr>
        <p:txBody>
          <a:bodyPr lIns="60959" rIns="60959" anchor="ctr"/>
          <a:lstStyle/>
          <a:p>
            <a:pPr defTabSz="914377">
              <a:lnSpc>
                <a:spcPct val="100000"/>
              </a:lnSpc>
              <a:spcBef>
                <a:spcPts val="0"/>
              </a:spcBef>
              <a:defRPr sz="1300" b="0">
                <a:solidFill>
                  <a:srgbClr val="000000"/>
                </a:solidFill>
              </a:defRPr>
            </a:pPr>
            <a:endParaRPr sz="1733"/>
          </a:p>
        </p:txBody>
      </p:sp>
      <p:grpSp>
        <p:nvGrpSpPr>
          <p:cNvPr id="101" name="Group 1"/>
          <p:cNvGrpSpPr/>
          <p:nvPr/>
        </p:nvGrpSpPr>
        <p:grpSpPr>
          <a:xfrm>
            <a:off x="9911925" y="6218034"/>
            <a:ext cx="2280008" cy="609601"/>
            <a:chOff x="0" y="0"/>
            <a:chExt cx="1710005" cy="457200"/>
          </a:xfrm>
        </p:grpSpPr>
        <p:sp>
          <p:nvSpPr>
            <p:cNvPr id="99" name="bk object 25"/>
            <p:cNvSpPr/>
            <p:nvPr/>
          </p:nvSpPr>
          <p:spPr>
            <a:xfrm>
              <a:off x="-1" y="0"/>
              <a:ext cx="1710007" cy="457200"/>
            </a:xfrm>
            <a:prstGeom prst="rect">
              <a:avLst/>
            </a:prstGeom>
            <a:solidFill>
              <a:srgbClr val="1F4D9B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>
                <a:lnSpc>
                  <a:spcPct val="100000"/>
                </a:lnSpc>
                <a:spcBef>
                  <a:spcPts val="0"/>
                </a:spcBef>
                <a:defRPr sz="1300" b="0">
                  <a:solidFill>
                    <a:srgbClr val="000000"/>
                  </a:solidFill>
                </a:defRPr>
              </a:pPr>
              <a:endParaRPr sz="1733"/>
            </a:p>
          </p:txBody>
        </p:sp>
        <p:pic>
          <p:nvPicPr>
            <p:cNvPr id="100" name="Picture 7" descr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3599" y="62848"/>
              <a:ext cx="964342" cy="3312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102" name="Picture 6" descr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4105" y="221058"/>
            <a:ext cx="859991" cy="591241"/>
          </a:xfrm>
          <a:prstGeom prst="rect">
            <a:avLst/>
          </a:prstGeom>
          <a:ln w="12700">
            <a:miter lim="400000"/>
          </a:ln>
        </p:spPr>
      </p:pic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44565" y="6526346"/>
            <a:ext cx="480001" cy="123111"/>
          </a:xfrm>
          <a:prstGeom prst="rect">
            <a:avLst/>
          </a:prstGeom>
          <a:solidFill>
            <a:srgbClr val="1F4D9B"/>
          </a:solidFill>
        </p:spPr>
        <p:txBody>
          <a:bodyPr wrap="square" lIns="0" tIns="0" rIns="0" bIns="0"/>
          <a:lstStyle>
            <a:lvl1pPr algn="ctr" defTabSz="410754">
              <a:defRPr sz="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04" name="TextBox 3"/>
          <p:cNvSpPr txBox="1">
            <a:spLocks noGrp="1"/>
          </p:cNvSpPr>
          <p:nvPr>
            <p:ph type="body" sz="quarter" idx="21"/>
          </p:nvPr>
        </p:nvSpPr>
        <p:spPr>
          <a:xfrm>
            <a:off x="518400" y="517135"/>
            <a:ext cx="1356585" cy="288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marL="0" indent="0" defTabSz="850369">
              <a:lnSpc>
                <a:spcPct val="110000"/>
              </a:lnSpc>
              <a:spcBef>
                <a:spcPts val="800"/>
              </a:spcBef>
              <a:buSzTx/>
              <a:buFontTx/>
              <a:buNone/>
              <a:defRPr sz="17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5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534035" y="1439999"/>
            <a:ext cx="11123931" cy="4748367"/>
          </a:xfrm>
          <a:prstGeom prst="rect">
            <a:avLst/>
          </a:prstGeom>
        </p:spPr>
        <p:txBody>
          <a:bodyPr lIns="0" tIns="0" rIns="0" bIns="0" numCol="2" spcCol="743217">
            <a:normAutofit/>
          </a:bodyPr>
          <a:lstStyle>
            <a:lvl1pPr marL="0" indent="0">
              <a:lnSpc>
                <a:spcPct val="120000"/>
              </a:lnSpc>
              <a:spcBef>
                <a:spcPts val="1067"/>
              </a:spcBef>
              <a:buSzTx/>
              <a:buFontTx/>
              <a:buNone/>
              <a:defRPr sz="1500">
                <a:latin typeface="+mn-lt"/>
                <a:ea typeface="+mn-ea"/>
                <a:cs typeface="+mn-cs"/>
                <a:sym typeface="Helvetica"/>
              </a:defRPr>
            </a:lvl1pPr>
            <a:lvl2pPr marL="888955" indent="-279385">
              <a:lnSpc>
                <a:spcPct val="120000"/>
              </a:lnSpc>
              <a:spcBef>
                <a:spcPts val="1067"/>
              </a:spcBef>
              <a:buFontTx/>
              <a:defRPr sz="1500">
                <a:latin typeface="+mn-lt"/>
                <a:ea typeface="+mn-ea"/>
                <a:cs typeface="+mn-cs"/>
                <a:sym typeface="Helvetica"/>
              </a:defRPr>
            </a:lvl2pPr>
            <a:lvl3pPr marL="1498524" indent="-279385">
              <a:lnSpc>
                <a:spcPct val="120000"/>
              </a:lnSpc>
              <a:spcBef>
                <a:spcPts val="1067"/>
              </a:spcBef>
              <a:buFontTx/>
              <a:defRPr sz="1500">
                <a:latin typeface="+mn-lt"/>
                <a:ea typeface="+mn-ea"/>
                <a:cs typeface="+mn-cs"/>
                <a:sym typeface="Helvetica"/>
              </a:defRPr>
            </a:lvl3pPr>
            <a:lvl4pPr marL="2108094" indent="-279385">
              <a:lnSpc>
                <a:spcPct val="120000"/>
              </a:lnSpc>
              <a:spcBef>
                <a:spcPts val="1067"/>
              </a:spcBef>
              <a:buFontTx/>
              <a:defRPr sz="1500">
                <a:latin typeface="+mn-lt"/>
                <a:ea typeface="+mn-ea"/>
                <a:cs typeface="+mn-cs"/>
                <a:sym typeface="Helvetica"/>
              </a:defRPr>
            </a:lvl4pPr>
            <a:lvl5pPr marL="2717664" indent="-279385">
              <a:lnSpc>
                <a:spcPct val="120000"/>
              </a:lnSpc>
              <a:spcBef>
                <a:spcPts val="1067"/>
              </a:spcBef>
              <a:buFontTx/>
              <a:defRPr sz="1500">
                <a:latin typeface="+mn-lt"/>
                <a:ea typeface="+mn-ea"/>
                <a:cs typeface="+mn-cs"/>
                <a:sym typeface="Helvetica"/>
              </a:defRPr>
            </a:lvl5pPr>
          </a:lstStyle>
          <a:p>
            <a:r>
              <a:t>00	Insert contents listing (2 columns)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58836330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C4D0DBB-988A-6342-8902-0563E9803C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5119" y="404664"/>
            <a:ext cx="471531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s Title 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AD27DD2-BE62-DA40-8EBD-559298C562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12873" y="1539489"/>
            <a:ext cx="4014180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 Chapter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254454E-2B5C-B046-98EC-9A0A923749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2873" y="2882868"/>
            <a:ext cx="4014180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 Chapter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B25C514-5CFA-FD4E-BB21-038E4D8FF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436918"/>
            <a:ext cx="4613763" cy="2421083"/>
          </a:xfrm>
          <a:prstGeom prst="rect">
            <a:avLst/>
          </a:prstGeom>
        </p:spPr>
      </p:pic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AB826CD5-5C92-B242-BB8B-DD1F577280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75119" y="1539489"/>
            <a:ext cx="747051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9A813DF2-0556-7B4C-A30B-8A7253CE58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75119" y="2881839"/>
            <a:ext cx="747051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5C52EF6-7A1A-948C-942C-0339E091A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22170" y="1896175"/>
            <a:ext cx="3118585" cy="810811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buFontTx/>
              <a:buBlip>
                <a:blip r:embed="rId3"/>
              </a:buBlip>
              <a:defRPr sz="15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-Content 01</a:t>
            </a:r>
          </a:p>
          <a:p>
            <a:pPr lvl="0"/>
            <a:r>
              <a:rPr lang="en-GB"/>
              <a:t>Sub-Content 02</a:t>
            </a:r>
          </a:p>
          <a:p>
            <a:pPr lvl="0"/>
            <a:r>
              <a:rPr lang="en-GB"/>
              <a:t>Sub-Content 03</a:t>
            </a:r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9448C27-4172-973B-4F33-BCE2BB9A8F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01" y="1"/>
            <a:ext cx="4611462" cy="4551117"/>
          </a:xfrm>
          <a:custGeom>
            <a:avLst/>
            <a:gdLst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0 w 9061155"/>
              <a:gd name="connsiteY7" fmla="*/ 19423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4449693 w 9061155"/>
              <a:gd name="connsiteY5" fmla="*/ 45384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5191279"/>
              <a:gd name="connsiteX1" fmla="*/ 7118829 w 9061155"/>
              <a:gd name="connsiteY1" fmla="*/ 0 h 5191279"/>
              <a:gd name="connsiteX2" fmla="*/ 9061155 w 9061155"/>
              <a:gd name="connsiteY2" fmla="*/ 1942326 h 5191279"/>
              <a:gd name="connsiteX3" fmla="*/ 9061155 w 9061155"/>
              <a:gd name="connsiteY3" fmla="*/ 4330524 h 5191279"/>
              <a:gd name="connsiteX4" fmla="*/ 8840562 w 9061155"/>
              <a:gd name="connsiteY4" fmla="*/ 4551117 h 5191279"/>
              <a:gd name="connsiteX5" fmla="*/ 4449693 w 9061155"/>
              <a:gd name="connsiteY5" fmla="*/ 4538417 h 5191279"/>
              <a:gd name="connsiteX6" fmla="*/ 0 w 9061155"/>
              <a:gd name="connsiteY6" fmla="*/ 4330524 h 5191279"/>
              <a:gd name="connsiteX7" fmla="*/ 1905000 w 9061155"/>
              <a:gd name="connsiteY7" fmla="*/ 1955026 h 5191279"/>
              <a:gd name="connsiteX8" fmla="*/ 1942326 w 9061155"/>
              <a:gd name="connsiteY8" fmla="*/ 0 h 5191279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4449693 w 9061155"/>
              <a:gd name="connsiteY5" fmla="*/ 45384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9669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9669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34815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34815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3481566 w 8085795"/>
              <a:gd name="connsiteY7" fmla="*/ 0 h 4551117"/>
              <a:gd name="connsiteX0" fmla="*/ 451391 w 5055620"/>
              <a:gd name="connsiteY0" fmla="*/ 0 h 4551117"/>
              <a:gd name="connsiteX1" fmla="*/ 3113294 w 5055620"/>
              <a:gd name="connsiteY1" fmla="*/ 0 h 4551117"/>
              <a:gd name="connsiteX2" fmla="*/ 5055620 w 5055620"/>
              <a:gd name="connsiteY2" fmla="*/ 1942326 h 4551117"/>
              <a:gd name="connsiteX3" fmla="*/ 5055620 w 5055620"/>
              <a:gd name="connsiteY3" fmla="*/ 4330524 h 4551117"/>
              <a:gd name="connsiteX4" fmla="*/ 4835027 w 5055620"/>
              <a:gd name="connsiteY4" fmla="*/ 4551117 h 4551117"/>
              <a:gd name="connsiteX5" fmla="*/ 444158 w 5055620"/>
              <a:gd name="connsiteY5" fmla="*/ 4538417 h 4551117"/>
              <a:gd name="connsiteX6" fmla="*/ 451391 w 5055620"/>
              <a:gd name="connsiteY6" fmla="*/ 0 h 4551117"/>
              <a:gd name="connsiteX0" fmla="*/ 330721 w 4934950"/>
              <a:gd name="connsiteY0" fmla="*/ 0 h 4551117"/>
              <a:gd name="connsiteX1" fmla="*/ 2992624 w 4934950"/>
              <a:gd name="connsiteY1" fmla="*/ 0 h 4551117"/>
              <a:gd name="connsiteX2" fmla="*/ 4934950 w 4934950"/>
              <a:gd name="connsiteY2" fmla="*/ 1942326 h 4551117"/>
              <a:gd name="connsiteX3" fmla="*/ 4934950 w 4934950"/>
              <a:gd name="connsiteY3" fmla="*/ 4330524 h 4551117"/>
              <a:gd name="connsiteX4" fmla="*/ 4714357 w 4934950"/>
              <a:gd name="connsiteY4" fmla="*/ 4551117 h 4551117"/>
              <a:gd name="connsiteX5" fmla="*/ 323488 w 4934950"/>
              <a:gd name="connsiteY5" fmla="*/ 4538417 h 4551117"/>
              <a:gd name="connsiteX6" fmla="*/ 330721 w 4934950"/>
              <a:gd name="connsiteY6" fmla="*/ 0 h 4551117"/>
              <a:gd name="connsiteX0" fmla="*/ 7233 w 4611462"/>
              <a:gd name="connsiteY0" fmla="*/ 0 h 4551117"/>
              <a:gd name="connsiteX1" fmla="*/ 2669136 w 4611462"/>
              <a:gd name="connsiteY1" fmla="*/ 0 h 4551117"/>
              <a:gd name="connsiteX2" fmla="*/ 4611462 w 4611462"/>
              <a:gd name="connsiteY2" fmla="*/ 1942326 h 4551117"/>
              <a:gd name="connsiteX3" fmla="*/ 4611462 w 4611462"/>
              <a:gd name="connsiteY3" fmla="*/ 4330524 h 4551117"/>
              <a:gd name="connsiteX4" fmla="*/ 4390869 w 4611462"/>
              <a:gd name="connsiteY4" fmla="*/ 4551117 h 4551117"/>
              <a:gd name="connsiteX5" fmla="*/ 0 w 4611462"/>
              <a:gd name="connsiteY5" fmla="*/ 4538417 h 4551117"/>
              <a:gd name="connsiteX6" fmla="*/ 7233 w 4611462"/>
              <a:gd name="connsiteY6" fmla="*/ 0 h 4551117"/>
              <a:gd name="connsiteX0" fmla="*/ 7233 w 4611462"/>
              <a:gd name="connsiteY0" fmla="*/ 0 h 4551117"/>
              <a:gd name="connsiteX1" fmla="*/ 2669136 w 4611462"/>
              <a:gd name="connsiteY1" fmla="*/ 0 h 4551117"/>
              <a:gd name="connsiteX2" fmla="*/ 4611462 w 4611462"/>
              <a:gd name="connsiteY2" fmla="*/ 1942326 h 4551117"/>
              <a:gd name="connsiteX3" fmla="*/ 4611462 w 4611462"/>
              <a:gd name="connsiteY3" fmla="*/ 4330524 h 4551117"/>
              <a:gd name="connsiteX4" fmla="*/ 4390869 w 4611462"/>
              <a:gd name="connsiteY4" fmla="*/ 4551117 h 4551117"/>
              <a:gd name="connsiteX5" fmla="*/ 0 w 4611462"/>
              <a:gd name="connsiteY5" fmla="*/ 4538417 h 4551117"/>
              <a:gd name="connsiteX6" fmla="*/ 7233 w 4611462"/>
              <a:gd name="connsiteY6" fmla="*/ 0 h 4551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11462" h="4551117">
                <a:moveTo>
                  <a:pt x="7233" y="0"/>
                </a:moveTo>
                <a:lnTo>
                  <a:pt x="2669136" y="0"/>
                </a:lnTo>
                <a:cubicBezTo>
                  <a:pt x="3741853" y="0"/>
                  <a:pt x="4611462" y="869609"/>
                  <a:pt x="4611462" y="1942326"/>
                </a:cubicBezTo>
                <a:lnTo>
                  <a:pt x="4611462" y="4330524"/>
                </a:lnTo>
                <a:cubicBezTo>
                  <a:pt x="4611462" y="4452354"/>
                  <a:pt x="4512699" y="4551117"/>
                  <a:pt x="4390869" y="4551117"/>
                </a:cubicBezTo>
                <a:lnTo>
                  <a:pt x="0" y="4538417"/>
                </a:lnTo>
                <a:cubicBezTo>
                  <a:pt x="8534" y="3642738"/>
                  <a:pt x="4337" y="1106923"/>
                  <a:pt x="7233" y="0"/>
                </a:cubicBezTo>
                <a:close/>
              </a:path>
            </a:pathLst>
          </a:cu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198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22950F0-F837-3643-8F3C-58187D933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FD82CE-01EC-B1CB-A6FD-FB39AAE27B82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866F1F2-E6A8-97CC-9915-9A8864215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9591229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69D1CE6-1539-C9FF-428F-50E945C8CF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9591229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6F70F55-5634-E0E4-19BE-00F2336FEF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044AAC2A-4E35-E36E-9115-E0E3D0E313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915" y="912168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72494EA-133C-010F-7F32-98A8422E06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9591229" cy="76032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3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pic>
        <p:nvPicPr>
          <p:cNvPr id="5" name="Picture 4" descr="The Open University Logo">
            <a:extLst>
              <a:ext uri="{FF2B5EF4-FFF2-40B4-BE49-F238E27FC236}">
                <a16:creationId xmlns:a16="http://schemas.microsoft.com/office/drawing/2014/main" id="{5A176635-0D9A-318C-7E7A-70539D9E69F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27031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286665" y="505765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86613" y="1051419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6006613" y="105139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6006613" y="1410244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286613" y="1985429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6006613" y="1985405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9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6006613" y="234425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286613" y="2919438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41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6006613" y="291941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2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006613" y="327826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6613" y="3853444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44" name="Text Placeholder 31"/>
          <p:cNvSpPr>
            <a:spLocks noGrp="1"/>
          </p:cNvSpPr>
          <p:nvPr>
            <p:ph type="body" sz="quarter" idx="21" hasCustomPrompt="1"/>
          </p:nvPr>
        </p:nvSpPr>
        <p:spPr>
          <a:xfrm>
            <a:off x="6006613" y="385342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5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6006613" y="4212272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5286613" y="4787455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5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6006613" y="478743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8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6006613" y="514628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286613" y="5721466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6</a:t>
            </a:r>
          </a:p>
        </p:txBody>
      </p:sp>
      <p:sp>
        <p:nvSpPr>
          <p:cNvPr id="50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6006613" y="572144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1" name="Text Placeholder 31"/>
          <p:cNvSpPr>
            <a:spLocks noGrp="1"/>
          </p:cNvSpPr>
          <p:nvPr>
            <p:ph type="body" sz="quarter" idx="28" hasCustomPrompt="1"/>
          </p:nvPr>
        </p:nvSpPr>
        <p:spPr>
          <a:xfrm>
            <a:off x="6006613" y="608029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800000" cy="6858000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2769571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518413" y="535873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 numCol="2" spcCol="360000"/>
          <a:lstStyle>
            <a:lvl1pPr marL="0" indent="0" algn="l" defTabSz="383981">
              <a:lnSpc>
                <a:spcPts val="2133"/>
              </a:lnSpc>
              <a:buNone/>
              <a:defRPr sz="1600" b="1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00	Insert contents listing (2 columns)</a:t>
            </a:r>
          </a:p>
        </p:txBody>
      </p:sp>
    </p:spTree>
    <p:extLst>
      <p:ext uri="{BB962C8B-B14F-4D97-AF65-F5344CB8AC3E}">
        <p14:creationId xmlns:p14="http://schemas.microsoft.com/office/powerpoint/2010/main" val="321246462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609570" indent="0">
              <a:buNone/>
              <a:defRPr sz="1600"/>
            </a:lvl2pPr>
            <a:lvl3pPr marL="1219139" indent="0">
              <a:buNone/>
              <a:defRPr sz="1600"/>
            </a:lvl3pPr>
            <a:lvl4pPr marL="1828709" indent="0">
              <a:buNone/>
              <a:defRPr sz="1600"/>
            </a:lvl4pPr>
            <a:lvl5pPr marL="2438278" indent="0">
              <a:buNone/>
              <a:defRPr sz="160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1969709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76000" y="1440000"/>
            <a:ext cx="1113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62790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m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2400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aphs and graphics can be positioned over the grey box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456001" y="1440484"/>
            <a:ext cx="825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78745388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13" y="1440000"/>
            <a:ext cx="4527551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568000" y="1440000"/>
            <a:ext cx="6144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59421405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13" y="4182563"/>
            <a:ext cx="4527551" cy="2195437"/>
          </a:xfrm>
          <a:prstGeom prst="rect">
            <a:avLst/>
          </a:prstGeom>
        </p:spPr>
        <p:txBody>
          <a:bodyPr lIns="0" tIns="0" rIns="0" bIns="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582417" y="1440484"/>
            <a:ext cx="6129599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76013" y="1440000"/>
            <a:ext cx="4527551" cy="2454560"/>
          </a:xfrm>
          <a:prstGeom prst="rect">
            <a:avLst/>
          </a:prstGeom>
        </p:spPr>
        <p:txBody>
          <a:bodyPr lIns="0" tIns="0" rIns="0" bIns="0" numCol="2" spcCol="288000"/>
          <a:lstStyle>
            <a:lvl1pPr marL="0" indent="0" algn="l">
              <a:buNone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harts, graphs and graphics can be positioned over the grey box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Body text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654460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22950F0-F837-3643-8F3C-58187D933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FD82CE-01EC-B1CB-A6FD-FB39AAE27B82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866F1F2-E6A8-97CC-9915-9A8864215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9591229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69D1CE6-1539-C9FF-428F-50E945C8CF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9591229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6F70F55-5634-E0E4-19BE-00F2336FEF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044AAC2A-4E35-E36E-9115-E0E3D0E313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915" y="912168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14BF4FA5-BC22-05C3-E069-B6D3DBC120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9591229" cy="76032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3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pic>
        <p:nvPicPr>
          <p:cNvPr id="7" name="Picture 6" descr="The Open University Logo">
            <a:extLst>
              <a:ext uri="{FF2B5EF4-FFF2-40B4-BE49-F238E27FC236}">
                <a16:creationId xmlns:a16="http://schemas.microsoft.com/office/drawing/2014/main" id="{1A8FBF3E-643E-C283-20B7-9D35C17A87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96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840000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104003" y="1440000"/>
            <a:ext cx="4607999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57348847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14"/>
            <a:ext cx="11136000" cy="2226767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3954794"/>
            <a:ext cx="11136000" cy="2423231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10693904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10972800" cy="914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5240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0"/>
          <p:cNvSpPr>
            <a:spLocks noGrp="1" noChangeArrowheads="1"/>
          </p:cNvSpPr>
          <p:nvPr>
            <p:ph type="ftr" sz="quarter" idx="10"/>
          </p:nvPr>
        </p:nvSpPr>
        <p:spPr>
          <a:xfrm>
            <a:off x="814929" y="6245225"/>
            <a:ext cx="102743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enise Whitelock, TEASIG March 202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68068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0"/>
          <p:cNvSpPr>
            <a:spLocks noGrp="1" noChangeArrowheads="1"/>
          </p:cNvSpPr>
          <p:nvPr>
            <p:ph type="ftr" sz="quarter" idx="10"/>
          </p:nvPr>
        </p:nvSpPr>
        <p:spPr>
          <a:xfrm>
            <a:off x="814929" y="6245225"/>
            <a:ext cx="102743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enise Whitelock, TEASIG March 202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45483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3D8D5-4D1B-F806-1743-8AE05B60E2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23FB6A-02AA-486F-A34A-C74F12401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6C75C0-82B1-26B9-623F-9DCDD4B18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170C89-BD87-DC9F-798D-646A4A6E3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009CCC-FC37-1239-143E-DF722FA24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38507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647DF-5F3C-3A4B-D840-3F3A76AFE6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4CE3C-C471-0B39-6C09-8ABBC665DB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77DF37-56B0-BDE4-96F3-A438290CD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2FF780-12AA-182D-596B-89BD6DE4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AB7A7-6308-31B5-76B2-C92F80996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5522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7251A-C60F-54F3-A88C-A2C967ABE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0B1725-7D43-4DEF-7255-ED2240778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78A0A8-B4A4-2A04-DF28-ED2343778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C4720-5257-3FA6-0538-59A8D54CDF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6A67A1-E6BB-D288-0556-74DE3DE4F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6801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AB2F24-34C7-5CA5-3C1D-5CA26601C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3AC4AE-2259-07A9-DF46-B2FE3E0240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A5D6AD-C157-9E27-151E-E2604968E0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D3B839-346C-7AE7-4446-ED6881DA8A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32566B-C0C2-114D-0FC7-01E3A238C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078C72-27FA-9838-F8A6-3A51CF73F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0115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B2308-B8F1-A224-5DE3-13788ECC22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A2EA20-C4B3-9E61-C106-A8596DD4F9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F3C612-2B4A-3598-01E9-04CC982FEB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B7D70C-0A43-0F99-EDFD-E56A21291C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C56D2F-B8F3-7FA5-50B2-095CE58157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04C154-EB93-7E74-87B8-10CF49D887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4005C1-5805-615E-B20F-2A273B01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A9D7FE8-4931-5999-855D-26F37A4FBC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9645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563506-376F-0320-E762-463CDF3BA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2FEB02-9777-0A5A-DC87-456FD5CC4D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CEF488-369A-BF90-ADFE-EE7736F86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8EE771-BAB7-9D80-32D7-AA9F345C1A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476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- Blue">
    <p:bg>
      <p:bgPr>
        <a:blipFill dpi="0" rotWithShape="1">
          <a:blip r:embed="rId2" cstate="screen">
            <a:alphaModFix amt="7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22950F0-F837-3643-8F3C-58187D933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FD82CE-01EC-B1CB-A6FD-FB39AAE27B82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866F1F2-E6A8-97CC-9915-9A8864215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9591229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69D1CE6-1539-C9FF-428F-50E945C8CF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9591229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6F70F55-5634-E0E4-19BE-00F2336FEF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044AAC2A-4E35-E36E-9115-E0E3D0E313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915" y="912168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72494EA-133C-010F-7F32-98A8422E06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9591229" cy="76032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pic>
        <p:nvPicPr>
          <p:cNvPr id="5" name="Picture 4" descr="The Open University Logo">
            <a:extLst>
              <a:ext uri="{FF2B5EF4-FFF2-40B4-BE49-F238E27FC236}">
                <a16:creationId xmlns:a16="http://schemas.microsoft.com/office/drawing/2014/main" id="{5A176635-0D9A-318C-7E7A-70539D9E69F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15414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DA542B-61C9-8DD0-3E08-517A35501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9E9650-42B9-523B-7206-C198A89009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808D7F-08E2-F052-36D0-FD8983999E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96157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574006-1D10-82AA-B261-89D0D02C9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F78C48-406A-F3AB-E056-41C00CC369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7AB9B5D-1CF0-6525-3644-6B1970618E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C2597A-7DC5-A891-668F-6764109C2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A78DEB-5171-54E0-2FB7-A80561EAF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2FEE26-9CF6-29CE-80EC-EAD9844F1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55187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A78A4C-02AE-DE49-EFF8-EAEABE552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1FA5A8-C667-202D-A911-2F045C1EDB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D7A8C9-01D2-5B22-8D8F-A4AF43860E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FF4668-F9B9-01A8-9A0B-EC077114D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3B0E52-0DFC-382F-3D14-ED34A78CE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FF8084-88CD-547A-DC07-12FE11995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23437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2937C-399D-19D3-0C24-3BA9106B1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6E3D70-4D63-90D9-62DA-F668B2F3A0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AFF2E9-78A2-E756-B3ED-4306E9FD8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292EA6-C5F4-DBCF-E6E5-9983F7B7D5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F6710B-0411-5512-04B8-51286E42C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86227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AF27047-9CF7-EE9B-0887-1D454FF4F0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6CE697-D806-0F28-75A2-53E941DD43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49A92E-50C1-913F-C6AD-B1A45BA9C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EF0240-03C1-9BA6-2CBA-93D8685D0C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598C3D-0243-CC4A-1D57-421DF7649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01549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s &amp; Cop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025CC09-2BCF-3A4D-87E4-590716EC07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93565" y="2856109"/>
            <a:ext cx="4687053" cy="32210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bore</a:t>
            </a:r>
            <a:r>
              <a:rPr lang="en-GB"/>
              <a:t> et dolore magna </a:t>
            </a:r>
            <a:r>
              <a:rPr lang="en-GB" err="1"/>
              <a:t>aliqua</a:t>
            </a:r>
            <a:r>
              <a:rPr lang="en-GB"/>
              <a:t>. Ut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exercitation </a:t>
            </a:r>
            <a:r>
              <a:rPr lang="en-GB" err="1"/>
              <a:t>ullamco</a:t>
            </a:r>
            <a:r>
              <a:rPr lang="en-GB"/>
              <a:t> </a:t>
            </a:r>
            <a:r>
              <a:rPr lang="en-GB" err="1"/>
              <a:t>laboris</a:t>
            </a:r>
            <a:r>
              <a:rPr lang="en-GB"/>
              <a:t> nisi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</a:t>
            </a:r>
            <a:r>
              <a:rPr lang="en-GB" err="1"/>
              <a:t>aute</a:t>
            </a:r>
            <a:r>
              <a:rPr lang="en-GB"/>
              <a:t> </a:t>
            </a:r>
            <a:r>
              <a:rPr lang="en-GB" err="1"/>
              <a:t>ir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consequat. Duis </a:t>
            </a:r>
            <a:r>
              <a:rPr lang="en-GB" err="1"/>
              <a:t>aute</a:t>
            </a:r>
            <a:r>
              <a:rPr lang="en-GB"/>
              <a:t> </a:t>
            </a:r>
            <a:r>
              <a:rPr lang="en-GB" err="1"/>
              <a:t>ir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reprehenderit</a:t>
            </a:r>
            <a:r>
              <a:rPr lang="en-GB"/>
              <a:t> in </a:t>
            </a:r>
            <a:r>
              <a:rPr lang="en-GB" err="1"/>
              <a:t>volup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cillum</a:t>
            </a:r>
            <a:r>
              <a:rPr lang="en-GB"/>
              <a:t>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pariatur</a:t>
            </a:r>
            <a:r>
              <a:rPr lang="en-GB"/>
              <a:t>. </a:t>
            </a:r>
            <a:r>
              <a:rPr lang="en-GB" err="1"/>
              <a:t>Excepteur</a:t>
            </a:r>
            <a:r>
              <a:rPr lang="en-GB"/>
              <a:t> </a:t>
            </a:r>
            <a:r>
              <a:rPr lang="en-GB" err="1"/>
              <a:t>sint</a:t>
            </a:r>
            <a:r>
              <a:rPr lang="en-GB"/>
              <a:t> </a:t>
            </a:r>
            <a:r>
              <a:rPr lang="en-GB" err="1"/>
              <a:t>occaecat</a:t>
            </a:r>
            <a:r>
              <a:rPr lang="en-GB"/>
              <a:t> </a:t>
            </a:r>
            <a:r>
              <a:rPr lang="en-GB" err="1"/>
              <a:t>cupidatat</a:t>
            </a:r>
            <a:r>
              <a:rPr lang="en-GB"/>
              <a:t> non </a:t>
            </a:r>
            <a:r>
              <a:rPr lang="en-GB" err="1"/>
              <a:t>proident</a:t>
            </a:r>
            <a:r>
              <a:rPr lang="en-GB"/>
              <a:t>, sunt in culpa qui </a:t>
            </a:r>
            <a:r>
              <a:rPr lang="en-GB" err="1"/>
              <a:t>officia</a:t>
            </a:r>
            <a:r>
              <a:rPr lang="en-GB"/>
              <a:t> </a:t>
            </a:r>
            <a:r>
              <a:rPr lang="en-GB" err="1"/>
              <a:t>deserunt</a:t>
            </a:r>
            <a:r>
              <a:rPr lang="en-GB"/>
              <a:t> </a:t>
            </a:r>
            <a:r>
              <a:rPr lang="en-GB" err="1"/>
              <a:t>mollit</a:t>
            </a:r>
            <a:r>
              <a:rPr lang="en-GB"/>
              <a:t> </a:t>
            </a:r>
            <a:r>
              <a:rPr lang="en-GB" err="1"/>
              <a:t>anim</a:t>
            </a:r>
            <a:r>
              <a:rPr lang="en-GB"/>
              <a:t> id </a:t>
            </a:r>
            <a:r>
              <a:rPr lang="en-GB" err="1"/>
              <a:t>est</a:t>
            </a:r>
            <a:r>
              <a:rPr lang="en-GB"/>
              <a:t> </a:t>
            </a:r>
            <a:r>
              <a:rPr lang="en-GB" err="1"/>
              <a:t>laborum</a:t>
            </a:r>
            <a:r>
              <a:rPr lang="en-GB"/>
              <a:t>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DFCC4E-7800-CD8E-7918-FDBF10EDE7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10" y="0"/>
            <a:ext cx="12197909" cy="1551256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161B3BB-13A6-8F07-69F3-28C1C681F2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1756180"/>
            <a:ext cx="10179513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5C6AF3-6B1E-0375-7D2A-5FD1C92321F7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rgbClr val="06064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A1FEAA9C-D9C5-C7E7-E834-0245869B2C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326028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AA7150EB-D92B-C450-9558-0D39CD35C8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833532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</p:spTree>
    <p:extLst>
      <p:ext uri="{BB962C8B-B14F-4D97-AF65-F5344CB8AC3E}">
        <p14:creationId xmlns:p14="http://schemas.microsoft.com/office/powerpoint/2010/main" val="3989339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- Green">
    <p:bg>
      <p:bgPr>
        <a:blipFill dpi="0" rotWithShape="1">
          <a:blip r:embed="rId2" cstate="screen">
            <a:alphaModFix amt="7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78491E11-C10D-5DDF-F581-B813FF8360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2A98FA0-A729-D60A-BCD1-960B3EC6A4F8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48CE6A7-7BB7-C947-6B53-6E5F78A862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63BDB31C-E836-A87A-D9AE-75FF184B4F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915" y="912168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F720CE49-261A-B18A-CA8E-F12BDA3067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9591229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F708842F-A283-9136-4756-08A1AAC018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9591229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3908543F-39C8-3FDA-CBB3-84FC94206A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9591229" cy="76032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pic>
        <p:nvPicPr>
          <p:cNvPr id="5" name="Picture 4" descr="The Open University Logo">
            <a:extLst>
              <a:ext uri="{FF2B5EF4-FFF2-40B4-BE49-F238E27FC236}">
                <a16:creationId xmlns:a16="http://schemas.microsoft.com/office/drawing/2014/main" id="{388B64FB-ADBB-26BD-E337-6CF096A9320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7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- Pink">
    <p:bg>
      <p:bgPr>
        <a:blipFill dpi="0" rotWithShape="1">
          <a:blip r:embed="rId2" cstate="screen">
            <a:alphaModFix amt="7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DC83551F-5FB0-9945-E01E-6CB9436CE2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E748C8D-C469-D474-1D97-BF5F569F543B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1611A53-2566-911B-758A-BB85811FD9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DAAA47C-344B-A081-7D83-D9FAAD75EB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915" y="912168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9787C0D-6642-0E1D-6AD0-4C7F5CDD7E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9591229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FE70F6A9-1F2C-B996-D2AA-A91C91158B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9591229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C6BB43E-7657-B36B-FF0A-F805A2FB99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9591229" cy="76032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17DA136-F775-4E4C-35DB-866AF036B4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30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- Yellow">
    <p:bg>
      <p:bgPr>
        <a:blipFill dpi="0" rotWithShape="1">
          <a:blip r:embed="rId2" cstate="screen">
            <a:alphaModFix amt="69965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C0329EC4-43A1-4C93-CC9C-F8056BDA6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711EE3C-D327-2D36-872A-6FFDFE494240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411FBA2-250A-1C91-4112-94C1448712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9D923CE2-295F-167C-F03F-85610416A0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915" y="912168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EE845F2-FF2D-A9D4-3ED4-93E968473C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9591229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DC990BB7-CAE3-E4DB-4F60-3FD7EA815A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9591229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BC92E1EE-0986-AEDC-C202-DFA17E6186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9591229" cy="76032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 as Poppins Regular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C24151-A80D-7D37-B014-1E2D90CE3D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227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/ List - Blue">
    <p:bg>
      <p:bgPr>
        <a:blipFill dpi="0" rotWithShape="1">
          <a:blip r:embed="rId2" cstate="screen">
            <a:alphaModFix amt="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22950F0-F837-3643-8F3C-58187D933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94F0EA2-EF9D-F005-352F-0ED7ED3B654A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67088FD3-2668-7B24-DF83-94C7E0A31C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4507D10-D757-85E8-DCAB-5DE27031CB5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915" y="912168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13AA83D-6834-E464-0BBA-BB0EAC8C261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86746" y="1562445"/>
            <a:ext cx="7739063" cy="742950"/>
          </a:xfrm>
          <a:prstGeom prst="rect">
            <a:avLst/>
          </a:prstGeom>
          <a:solidFill>
            <a:srgbClr val="E6FAFF"/>
          </a:solidFill>
        </p:spPr>
        <p:txBody>
          <a:bodyPr lIns="216000" tIns="108000" rIns="216000" bIns="72000"/>
          <a:lstStyle>
            <a:lvl1pPr marL="0" indent="0">
              <a:lnSpc>
                <a:spcPct val="110000"/>
              </a:lnSpc>
              <a:buNone/>
              <a:defRPr sz="1500">
                <a:latin typeface="Poppins" panose="000005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sz="1500">
                <a:solidFill>
                  <a:srgbClr val="060645"/>
                </a:solidFill>
              </a:rPr>
              <a:t>Body copy goes her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1217A9CF-DA6B-5003-7AB7-83F7002BC2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895" y="1558879"/>
            <a:ext cx="2313071" cy="746515"/>
          </a:xfrm>
          <a:prstGeom prst="rect">
            <a:avLst/>
          </a:prstGeom>
          <a:solidFill>
            <a:srgbClr val="1C46C0"/>
          </a:solidFill>
        </p:spPr>
        <p:txBody>
          <a:bodyPr lIns="216000" tIns="108000" rIns="216000" bIns="72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  <a:p>
            <a:pPr lvl="0"/>
            <a:r>
              <a:rPr lang="en-GB"/>
              <a:t>Section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F8B6BF6-2B20-BAE1-496B-4CE3AF22F71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86746" y="2459335"/>
            <a:ext cx="7739063" cy="742950"/>
          </a:xfrm>
          <a:prstGeom prst="rect">
            <a:avLst/>
          </a:prstGeom>
          <a:solidFill>
            <a:srgbClr val="E6FAFF"/>
          </a:solidFill>
        </p:spPr>
        <p:txBody>
          <a:bodyPr lIns="216000" tIns="108000" rIns="216000" bIns="72000"/>
          <a:lstStyle>
            <a:lvl1pPr marL="0" indent="0">
              <a:lnSpc>
                <a:spcPct val="110000"/>
              </a:lnSpc>
              <a:buNone/>
              <a:defRPr sz="1500">
                <a:latin typeface="Poppins" panose="000005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sz="1500">
                <a:solidFill>
                  <a:srgbClr val="060645"/>
                </a:solidFill>
              </a:rPr>
              <a:t>Body copy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2DA06FF-3584-5C18-7680-957EB66DCC1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7895" y="2455769"/>
            <a:ext cx="2313071" cy="746515"/>
          </a:xfrm>
          <a:prstGeom prst="rect">
            <a:avLst/>
          </a:prstGeom>
          <a:solidFill>
            <a:srgbClr val="1C46C0"/>
          </a:solidFill>
        </p:spPr>
        <p:txBody>
          <a:bodyPr lIns="216000" tIns="108000" rIns="216000" bIns="72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  <a:p>
            <a:pPr lvl="0"/>
            <a:r>
              <a:rPr lang="en-GB"/>
              <a:t>Section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8DBC1E-2F93-2120-01F2-76667F7A35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86746" y="3356225"/>
            <a:ext cx="7739063" cy="742950"/>
          </a:xfrm>
          <a:prstGeom prst="rect">
            <a:avLst/>
          </a:prstGeom>
          <a:solidFill>
            <a:srgbClr val="E6FAFF"/>
          </a:solidFill>
        </p:spPr>
        <p:txBody>
          <a:bodyPr lIns="216000" tIns="108000" rIns="216000" bIns="72000"/>
          <a:lstStyle>
            <a:lvl1pPr marL="0" indent="0">
              <a:lnSpc>
                <a:spcPct val="110000"/>
              </a:lnSpc>
              <a:buNone/>
              <a:defRPr sz="1500">
                <a:latin typeface="Poppins" panose="000005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sz="1500">
                <a:solidFill>
                  <a:srgbClr val="060645"/>
                </a:solidFill>
              </a:rPr>
              <a:t>Body copy goes her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19B98AE-BA3F-CCAE-E04C-B8169D9363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7895" y="3352659"/>
            <a:ext cx="2313071" cy="746515"/>
          </a:xfrm>
          <a:prstGeom prst="rect">
            <a:avLst/>
          </a:prstGeom>
          <a:solidFill>
            <a:srgbClr val="1C46C0"/>
          </a:solidFill>
        </p:spPr>
        <p:txBody>
          <a:bodyPr lIns="216000" tIns="108000" rIns="216000" bIns="72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  <a:p>
            <a:pPr lvl="0"/>
            <a:r>
              <a:rPr lang="en-GB"/>
              <a:t>Section 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C8CB63D-4300-E62A-F48C-630CF6B954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86746" y="4249549"/>
            <a:ext cx="7739063" cy="742950"/>
          </a:xfrm>
          <a:prstGeom prst="rect">
            <a:avLst/>
          </a:prstGeom>
          <a:solidFill>
            <a:srgbClr val="E6FAFF"/>
          </a:solidFill>
        </p:spPr>
        <p:txBody>
          <a:bodyPr lIns="216000" tIns="108000" rIns="216000" bIns="72000"/>
          <a:lstStyle>
            <a:lvl1pPr marL="0" indent="0">
              <a:lnSpc>
                <a:spcPct val="110000"/>
              </a:lnSpc>
              <a:buNone/>
              <a:defRPr sz="1500">
                <a:latin typeface="Poppins" panose="000005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sz="1500">
                <a:solidFill>
                  <a:srgbClr val="060645"/>
                </a:solidFill>
              </a:rPr>
              <a:t>Body copy goes her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4490E080-95F7-C04E-1506-EAC0EB4C51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7895" y="4245983"/>
            <a:ext cx="2313071" cy="746515"/>
          </a:xfrm>
          <a:prstGeom prst="rect">
            <a:avLst/>
          </a:prstGeom>
          <a:solidFill>
            <a:srgbClr val="1C46C0"/>
          </a:solidFill>
        </p:spPr>
        <p:txBody>
          <a:bodyPr lIns="216000" tIns="108000" rIns="216000" bIns="72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  <a:p>
            <a:pPr lvl="0"/>
            <a:r>
              <a:rPr lang="en-GB"/>
              <a:t>Section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2FB48F-821A-CA54-A34E-E55E101C6C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407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/ List - Orange">
    <p:bg>
      <p:bgPr>
        <a:blipFill dpi="0" rotWithShape="1">
          <a:blip r:embed="rId2" cstate="screen">
            <a:alphaModFix amt="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>
            <a:extLst>
              <a:ext uri="{FF2B5EF4-FFF2-40B4-BE49-F238E27FC236}">
                <a16:creationId xmlns:a16="http://schemas.microsoft.com/office/drawing/2014/main" id="{C107E3E2-7CA3-497F-C4E8-4ECE3460E5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87568DA1-20C9-8598-44C7-76FE257E9D79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B5BDD1-EF18-E4A2-DE79-A8B3B7FCE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A8F030FA-FAE8-B846-F0B1-F69F3B3AB75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3915" y="912168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69C5B20-B0D8-1392-83E8-B19EE7BA6B2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86746" y="1562445"/>
            <a:ext cx="7739063" cy="742950"/>
          </a:xfrm>
          <a:prstGeom prst="rect">
            <a:avLst/>
          </a:prstGeom>
          <a:solidFill>
            <a:srgbClr val="FFF0F3"/>
          </a:solidFill>
        </p:spPr>
        <p:txBody>
          <a:bodyPr lIns="216000" tIns="108000" rIns="216000" bIns="72000"/>
          <a:lstStyle>
            <a:lvl1pPr marL="0" indent="0">
              <a:lnSpc>
                <a:spcPct val="110000"/>
              </a:lnSpc>
              <a:buNone/>
              <a:defRPr sz="1500">
                <a:latin typeface="Poppins" panose="000005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sz="1500">
                <a:solidFill>
                  <a:srgbClr val="060645"/>
                </a:solidFill>
              </a:rPr>
              <a:t>Body copy goes her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1450AA39-F87C-B61C-59F0-76575DE5CC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895" y="1562445"/>
            <a:ext cx="2313071" cy="746515"/>
          </a:xfrm>
          <a:prstGeom prst="rect">
            <a:avLst/>
          </a:prstGeom>
          <a:solidFill>
            <a:srgbClr val="FF8A77"/>
          </a:solidFill>
        </p:spPr>
        <p:txBody>
          <a:bodyPr lIns="216000" tIns="108000" rIns="216000" bIns="72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  <a:p>
            <a:pPr lvl="0"/>
            <a:r>
              <a:rPr lang="en-GB"/>
              <a:t>Section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8D84559-6512-8243-0E68-926840CCE5E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86746" y="2459335"/>
            <a:ext cx="7739063" cy="742950"/>
          </a:xfrm>
          <a:prstGeom prst="rect">
            <a:avLst/>
          </a:prstGeom>
          <a:solidFill>
            <a:srgbClr val="FFF0F3"/>
          </a:solidFill>
        </p:spPr>
        <p:txBody>
          <a:bodyPr lIns="216000" tIns="108000" rIns="216000" bIns="72000"/>
          <a:lstStyle>
            <a:lvl1pPr marL="0" indent="0">
              <a:lnSpc>
                <a:spcPct val="110000"/>
              </a:lnSpc>
              <a:buNone/>
              <a:defRPr sz="1500">
                <a:latin typeface="Poppins" panose="000005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sz="1500">
                <a:solidFill>
                  <a:srgbClr val="060645"/>
                </a:solidFill>
              </a:rPr>
              <a:t>Body copy goes he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3CA98CFD-BEE6-B7D0-940B-408558AE3B9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7895" y="2459335"/>
            <a:ext cx="2313071" cy="746515"/>
          </a:xfrm>
          <a:prstGeom prst="rect">
            <a:avLst/>
          </a:prstGeom>
          <a:solidFill>
            <a:srgbClr val="FF8A77"/>
          </a:solidFill>
        </p:spPr>
        <p:txBody>
          <a:bodyPr lIns="216000" tIns="108000" rIns="216000" bIns="72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  <a:p>
            <a:pPr lvl="0"/>
            <a:r>
              <a:rPr lang="en-GB"/>
              <a:t>Section titl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73173B8F-4A38-6A7C-3840-1B6791B615E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86746" y="3356225"/>
            <a:ext cx="7739063" cy="742950"/>
          </a:xfrm>
          <a:prstGeom prst="rect">
            <a:avLst/>
          </a:prstGeom>
          <a:solidFill>
            <a:srgbClr val="FFF0F3"/>
          </a:solidFill>
        </p:spPr>
        <p:txBody>
          <a:bodyPr lIns="216000" tIns="108000" rIns="216000" bIns="72000"/>
          <a:lstStyle>
            <a:lvl1pPr marL="0" indent="0">
              <a:lnSpc>
                <a:spcPct val="110000"/>
              </a:lnSpc>
              <a:buNone/>
              <a:defRPr sz="1500">
                <a:latin typeface="Poppins" panose="000005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sz="1500">
                <a:solidFill>
                  <a:srgbClr val="060645"/>
                </a:solidFill>
              </a:rPr>
              <a:t>Body copy goes her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1258A6A1-7C96-27AC-C908-3BA13CCF1F6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7895" y="3356225"/>
            <a:ext cx="2313071" cy="746515"/>
          </a:xfrm>
          <a:prstGeom prst="rect">
            <a:avLst/>
          </a:prstGeom>
          <a:solidFill>
            <a:srgbClr val="FF8A77"/>
          </a:solidFill>
        </p:spPr>
        <p:txBody>
          <a:bodyPr lIns="216000" tIns="108000" rIns="216000" bIns="72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  <a:p>
            <a:pPr lvl="0"/>
            <a:r>
              <a:rPr lang="en-GB"/>
              <a:t>Section titl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80D1A29E-8F23-E9BF-AE02-BAA15FD20AA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86746" y="4249549"/>
            <a:ext cx="7739063" cy="742950"/>
          </a:xfrm>
          <a:prstGeom prst="rect">
            <a:avLst/>
          </a:prstGeom>
          <a:solidFill>
            <a:srgbClr val="FFF0F3"/>
          </a:solidFill>
        </p:spPr>
        <p:txBody>
          <a:bodyPr lIns="216000" tIns="108000" rIns="216000" bIns="72000"/>
          <a:lstStyle>
            <a:lvl1pPr marL="0" indent="0">
              <a:lnSpc>
                <a:spcPct val="110000"/>
              </a:lnSpc>
              <a:buNone/>
              <a:defRPr sz="1500">
                <a:latin typeface="Poppins" panose="00000500000000000000" pitchFamily="2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sz="1500">
                <a:solidFill>
                  <a:srgbClr val="060645"/>
                </a:solidFill>
              </a:rPr>
              <a:t>Body copy goes here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DB928D05-8855-2639-E843-A1F7DC27F6E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7895" y="4249549"/>
            <a:ext cx="2313071" cy="746515"/>
          </a:xfrm>
          <a:prstGeom prst="rect">
            <a:avLst/>
          </a:prstGeom>
          <a:solidFill>
            <a:srgbClr val="FF8A77"/>
          </a:solidFill>
        </p:spPr>
        <p:txBody>
          <a:bodyPr lIns="216000" tIns="108000" rIns="216000" bIns="72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  <a:p>
            <a:pPr lvl="0"/>
            <a:r>
              <a:rPr lang="en-GB"/>
              <a:t>Section 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AD93BCC-9ABA-3DB6-4ED6-2BD13246CB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713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2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5BD7FBF3-7226-2149-BBD3-0981851732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10" y="0"/>
            <a:ext cx="12197909" cy="1551256"/>
          </a:xfrm>
          <a:prstGeom prst="rect">
            <a:avLst/>
          </a:prstGeom>
        </p:spPr>
      </p:pic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609CABD5-CEF8-7D40-AB55-829D55FD31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1756180"/>
            <a:ext cx="10179513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31521C-CAF9-B57E-A59F-40B74F594929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rgbClr val="06064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DAAB76E-1BCE-CA53-ACE8-77F42754E1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326028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C210018-BF10-8707-6A21-CCCE83C373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833532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</p:spTree>
    <p:extLst>
      <p:ext uri="{BB962C8B-B14F-4D97-AF65-F5344CB8AC3E}">
        <p14:creationId xmlns:p14="http://schemas.microsoft.com/office/powerpoint/2010/main" val="842125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6001" cy="533400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D31C04-0A53-3A47-8287-081AE26B8A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5334000"/>
            <a:ext cx="6096000" cy="1524000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E28EB488-1C80-0E67-1A53-022688EC46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557585" cy="1800200"/>
          </a:xfr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Front Cover Title Goes Here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9E9177B3-5DDF-C49A-F04A-F97D821D76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8" y="2431330"/>
            <a:ext cx="5557584" cy="1305402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D3418B85-C84C-B824-D28F-BA79F5E04C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208" y="3846892"/>
            <a:ext cx="5557584" cy="347039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ers nam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E5F6774-8098-996B-DB40-EA611D348D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8" y="4198584"/>
            <a:ext cx="5557584" cy="347039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epartment nam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02518C58-E2DB-02D3-8708-B87996A9E5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208" y="4545623"/>
            <a:ext cx="5557584" cy="347039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pic>
        <p:nvPicPr>
          <p:cNvPr id="15" name="Picture 14" descr="The Open University Logo">
            <a:extLst>
              <a:ext uri="{FF2B5EF4-FFF2-40B4-BE49-F238E27FC236}">
                <a16:creationId xmlns:a16="http://schemas.microsoft.com/office/drawing/2014/main" id="{95ADE654-C78D-7069-71BF-CB8E04298DE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5" y="5829301"/>
            <a:ext cx="1709992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594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&amp; Cop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025CC09-2BCF-3A4D-87E4-590716EC07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93565" y="2856109"/>
            <a:ext cx="4687053" cy="32210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bore</a:t>
            </a:r>
            <a:r>
              <a:rPr lang="en-GB"/>
              <a:t> et dolore magna </a:t>
            </a:r>
            <a:r>
              <a:rPr lang="en-GB" err="1"/>
              <a:t>aliqua</a:t>
            </a:r>
            <a:r>
              <a:rPr lang="en-GB"/>
              <a:t>. Ut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exercitation </a:t>
            </a:r>
            <a:r>
              <a:rPr lang="en-GB" err="1"/>
              <a:t>ullamco</a:t>
            </a:r>
            <a:r>
              <a:rPr lang="en-GB"/>
              <a:t> </a:t>
            </a:r>
            <a:r>
              <a:rPr lang="en-GB" err="1"/>
              <a:t>laboris</a:t>
            </a:r>
            <a:r>
              <a:rPr lang="en-GB"/>
              <a:t> nisi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</a:t>
            </a:r>
            <a:r>
              <a:rPr lang="en-GB" err="1"/>
              <a:t>aute</a:t>
            </a:r>
            <a:r>
              <a:rPr lang="en-GB"/>
              <a:t> </a:t>
            </a:r>
            <a:r>
              <a:rPr lang="en-GB" err="1"/>
              <a:t>ir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consequat. Duis </a:t>
            </a:r>
            <a:r>
              <a:rPr lang="en-GB" err="1"/>
              <a:t>aute</a:t>
            </a:r>
            <a:r>
              <a:rPr lang="en-GB"/>
              <a:t> </a:t>
            </a:r>
            <a:r>
              <a:rPr lang="en-GB" err="1"/>
              <a:t>ir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reprehenderit</a:t>
            </a:r>
            <a:r>
              <a:rPr lang="en-GB"/>
              <a:t> in </a:t>
            </a:r>
            <a:r>
              <a:rPr lang="en-GB" err="1"/>
              <a:t>volup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cillum</a:t>
            </a:r>
            <a:r>
              <a:rPr lang="en-GB"/>
              <a:t>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pariatur</a:t>
            </a:r>
            <a:r>
              <a:rPr lang="en-GB"/>
              <a:t>. </a:t>
            </a:r>
            <a:r>
              <a:rPr lang="en-GB" err="1"/>
              <a:t>Excepteur</a:t>
            </a:r>
            <a:r>
              <a:rPr lang="en-GB"/>
              <a:t> </a:t>
            </a:r>
            <a:r>
              <a:rPr lang="en-GB" err="1"/>
              <a:t>sint</a:t>
            </a:r>
            <a:r>
              <a:rPr lang="en-GB"/>
              <a:t> </a:t>
            </a:r>
            <a:r>
              <a:rPr lang="en-GB" err="1"/>
              <a:t>occaecat</a:t>
            </a:r>
            <a:r>
              <a:rPr lang="en-GB"/>
              <a:t> </a:t>
            </a:r>
            <a:r>
              <a:rPr lang="en-GB" err="1"/>
              <a:t>cupidatat</a:t>
            </a:r>
            <a:r>
              <a:rPr lang="en-GB"/>
              <a:t> non </a:t>
            </a:r>
            <a:r>
              <a:rPr lang="en-GB" err="1"/>
              <a:t>proident</a:t>
            </a:r>
            <a:r>
              <a:rPr lang="en-GB"/>
              <a:t>, sunt in culpa qui </a:t>
            </a:r>
            <a:r>
              <a:rPr lang="en-GB" err="1"/>
              <a:t>officia</a:t>
            </a:r>
            <a:r>
              <a:rPr lang="en-GB"/>
              <a:t> </a:t>
            </a:r>
            <a:r>
              <a:rPr lang="en-GB" err="1"/>
              <a:t>deserunt</a:t>
            </a:r>
            <a:r>
              <a:rPr lang="en-GB"/>
              <a:t> </a:t>
            </a:r>
            <a:r>
              <a:rPr lang="en-GB" err="1"/>
              <a:t>mollit</a:t>
            </a:r>
            <a:r>
              <a:rPr lang="en-GB"/>
              <a:t> </a:t>
            </a:r>
            <a:r>
              <a:rPr lang="en-GB" err="1"/>
              <a:t>anim</a:t>
            </a:r>
            <a:r>
              <a:rPr lang="en-GB"/>
              <a:t> id </a:t>
            </a:r>
            <a:r>
              <a:rPr lang="en-GB" err="1"/>
              <a:t>est</a:t>
            </a:r>
            <a:r>
              <a:rPr lang="en-GB"/>
              <a:t> </a:t>
            </a:r>
            <a:r>
              <a:rPr lang="en-GB" err="1"/>
              <a:t>laborum</a:t>
            </a:r>
            <a:r>
              <a:rPr lang="en-GB"/>
              <a:t>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DFCC4E-7800-CD8E-7918-FDBF10EDE7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10" y="0"/>
            <a:ext cx="12197909" cy="1551256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161B3BB-13A6-8F07-69F3-28C1C681F2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1756180"/>
            <a:ext cx="10179513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5C6AF3-6B1E-0375-7D2A-5FD1C92321F7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rgbClr val="06064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A1FEAA9C-D9C5-C7E7-E834-0245869B2C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326028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AA7150EB-D92B-C450-9558-0D39CD35C8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833532"/>
            <a:ext cx="10766703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</p:spTree>
    <p:extLst>
      <p:ext uri="{BB962C8B-B14F-4D97-AF65-F5344CB8AC3E}">
        <p14:creationId xmlns:p14="http://schemas.microsoft.com/office/powerpoint/2010/main" val="303935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ntent - Tight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609CABD5-CEF8-7D40-AB55-829D55FD31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1095780"/>
            <a:ext cx="10179513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31521C-CAF9-B57E-A59F-40B74F594929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rgbClr val="06064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E24568D3-44DC-E35D-6A09-5B5154DCE05F}"/>
              </a:ext>
            </a:extLst>
          </p:cNvPr>
          <p:cNvSpPr/>
          <p:nvPr userDrawn="1"/>
        </p:nvSpPr>
        <p:spPr>
          <a:xfrm flipV="1">
            <a:off x="-5910" y="0"/>
            <a:ext cx="12197910" cy="823189"/>
          </a:xfrm>
          <a:prstGeom prst="round1Rect">
            <a:avLst>
              <a:gd name="adj" fmla="val 50000"/>
            </a:avLst>
          </a:prstGeom>
          <a:solidFill>
            <a:srgbClr val="0606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4E490143-9197-1E5C-A155-ABAF72B3B0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163013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</p:spTree>
    <p:extLst>
      <p:ext uri="{BB962C8B-B14F-4D97-AF65-F5344CB8AC3E}">
        <p14:creationId xmlns:p14="http://schemas.microsoft.com/office/powerpoint/2010/main" val="2573154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 &amp; Copy - White">
    <p:bg>
      <p:bgPr>
        <a:blipFill dpi="0" rotWithShape="1">
          <a:blip r:embed="rId2" cstate="screen">
            <a:alphaModFix amt="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of Rectangle 6">
            <a:extLst>
              <a:ext uri="{FF2B5EF4-FFF2-40B4-BE49-F238E27FC236}">
                <a16:creationId xmlns:a16="http://schemas.microsoft.com/office/drawing/2014/main" id="{CDACC711-C51A-FB4F-8AD7-5F9DB35F71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6096000" y="0"/>
            <a:ext cx="6096000" cy="6858000"/>
          </a:xfrm>
          <a:prstGeom prst="round1Rect">
            <a:avLst>
              <a:gd name="adj" fmla="val 20797"/>
            </a:avLst>
          </a:prstGeom>
          <a:solidFill>
            <a:srgbClr val="0606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endParaRPr lang="en-US">
              <a:latin typeface="Poppins" panose="00000500000000000000" pitchFamily="2" charset="0"/>
            </a:endParaRP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81C071C-5A64-4146-A308-DE2C7FB11B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432580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460542D6-22F5-6141-8C6F-6937620487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4325807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AD9D407-A97D-E17E-DBFA-25ABF15C9A31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rgbClr val="06064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EF331A0-8630-D550-918D-B67681D6E4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404664"/>
            <a:ext cx="4912997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2E1D5FB1-6523-35BC-D888-0047E26278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912168"/>
            <a:ext cx="491299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FBA357D1-B85B-5E43-48BE-75FF66F901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4325807" cy="304101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3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pic>
        <p:nvPicPr>
          <p:cNvPr id="2" name="Picture 1" descr="The Open University Logo">
            <a:extLst>
              <a:ext uri="{FF2B5EF4-FFF2-40B4-BE49-F238E27FC236}">
                <a16:creationId xmlns:a16="http://schemas.microsoft.com/office/drawing/2014/main" id="{6A75198C-6ADB-FB44-7D03-6F5213AC312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33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 &amp; Copy - Blue Light Mode">
    <p:bg>
      <p:bgPr>
        <a:blipFill dpi="0" rotWithShape="1">
          <a:blip r:embed="rId2" cstate="screen">
            <a:alphaModFix amt="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C4C01CCF-0DB7-F246-ABF2-EC18516A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7" name="Round Single Corner of Rectangle 6">
            <a:extLst>
              <a:ext uri="{FF2B5EF4-FFF2-40B4-BE49-F238E27FC236}">
                <a16:creationId xmlns:a16="http://schemas.microsoft.com/office/drawing/2014/main" id="{CDACC711-C51A-FB4F-8AD7-5F9DB35F71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6096000" y="0"/>
            <a:ext cx="6096000" cy="6858000"/>
          </a:xfrm>
          <a:prstGeom prst="round1Rect">
            <a:avLst>
              <a:gd name="adj" fmla="val 20797"/>
            </a:avLst>
          </a:prstGeom>
          <a:solidFill>
            <a:srgbClr val="AED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>
              <a:latin typeface="Poppins" panose="00000500000000000000" pitchFamily="2" charset="0"/>
            </a:endParaRP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441112C6-9F31-50D1-7D73-6298CB7F2E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432580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C32AB5CB-C8A8-C7B0-84CC-CEA1640370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4325807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8F44462-549C-8EC7-19AB-A506B51C3E6A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rgbClr val="06064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EB2C4ECE-5A58-924D-D8E6-C4AE68AD8C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404664"/>
            <a:ext cx="4912997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DDC83B33-527D-290B-B1B2-1DEADA31AE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912168"/>
            <a:ext cx="491299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5C71BB06-BC2B-503D-C100-C1D7CF6061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4325807" cy="304101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pic>
        <p:nvPicPr>
          <p:cNvPr id="2" name="Picture 1" descr="The Open University Logo">
            <a:extLst>
              <a:ext uri="{FF2B5EF4-FFF2-40B4-BE49-F238E27FC236}">
                <a16:creationId xmlns:a16="http://schemas.microsoft.com/office/drawing/2014/main" id="{65EE5AA7-CE9F-6795-3587-5FECAE58305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685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 &amp; Copy - Green Light Mode">
    <p:bg>
      <p:bgPr>
        <a:blipFill dpi="0" rotWithShape="1">
          <a:blip r:embed="rId2" cstate="screen">
            <a:alphaModFix amt="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647B443-B36F-0143-9A72-596E9458A3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7" name="Round Single Corner of Rectangle 6">
            <a:extLst>
              <a:ext uri="{FF2B5EF4-FFF2-40B4-BE49-F238E27FC236}">
                <a16:creationId xmlns:a16="http://schemas.microsoft.com/office/drawing/2014/main" id="{CDACC711-C51A-FB4F-8AD7-5F9DB35F71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6096000" y="0"/>
            <a:ext cx="6096000" cy="6858000"/>
          </a:xfrm>
          <a:prstGeom prst="round1Rect">
            <a:avLst>
              <a:gd name="adj" fmla="val 20797"/>
            </a:avLst>
          </a:prstGeom>
          <a:solidFill>
            <a:srgbClr val="D1F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Poppins" panose="00000500000000000000" pitchFamily="2" charset="0"/>
            </a:endParaRP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F66FAE19-7B52-BB59-E57B-29D522C6BD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432580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F77B454A-E504-0EE7-A8CA-E5D9EEC2F4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4325807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4228A78-C513-C604-6CB6-28BAE7604C73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rgbClr val="06064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1EAD907-96B1-968B-D6C2-A05E0A48B0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404664"/>
            <a:ext cx="4912997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A310DCE-936B-7A91-931F-F8940F242D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912168"/>
            <a:ext cx="491299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4C03919D-ED94-85DD-1324-53A7CAE381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4325807" cy="304101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pic>
        <p:nvPicPr>
          <p:cNvPr id="2" name="Picture 1" descr="The Open University Logo">
            <a:extLst>
              <a:ext uri="{FF2B5EF4-FFF2-40B4-BE49-F238E27FC236}">
                <a16:creationId xmlns:a16="http://schemas.microsoft.com/office/drawing/2014/main" id="{87A5F3DD-B4AB-BD17-596F-E74A62BFB68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643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 &amp; Copy - Pink Light Mode">
    <p:bg>
      <p:bgPr>
        <a:blipFill dpi="0" rotWithShape="1">
          <a:blip r:embed="rId2" cstate="screen">
            <a:alphaModFix amt="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647B443-B36F-0143-9A72-596E9458A3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7" name="Round Single Corner of Rectangle 6">
            <a:extLst>
              <a:ext uri="{FF2B5EF4-FFF2-40B4-BE49-F238E27FC236}">
                <a16:creationId xmlns:a16="http://schemas.microsoft.com/office/drawing/2014/main" id="{CDACC711-C51A-FB4F-8AD7-5F9DB35F71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6096000" y="0"/>
            <a:ext cx="6096000" cy="6858000"/>
          </a:xfrm>
          <a:prstGeom prst="round1Rect">
            <a:avLst>
              <a:gd name="adj" fmla="val 20797"/>
            </a:avLst>
          </a:prstGeom>
          <a:solidFill>
            <a:srgbClr val="FFE8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Poppins" panose="00000500000000000000" pitchFamily="2" charset="0"/>
            </a:endParaRP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02A26A26-C4B5-4D8E-73A4-981818756D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432580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F8328C9E-9DA1-DF63-59C8-5F540DB4BB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4325807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E1A6B9E-E779-E0D7-BC86-EA660E984003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rgbClr val="06064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46F34F4-9E99-01A0-2C06-1C0C5E7762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404664"/>
            <a:ext cx="4912997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7341710-98F6-F41B-8C50-352203DF2B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912168"/>
            <a:ext cx="491299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C1EA7DC-B02A-FE29-687A-390579C75F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4325807" cy="304101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pic>
        <p:nvPicPr>
          <p:cNvPr id="2" name="Picture 1" descr="The Open University Logo">
            <a:extLst>
              <a:ext uri="{FF2B5EF4-FFF2-40B4-BE49-F238E27FC236}">
                <a16:creationId xmlns:a16="http://schemas.microsoft.com/office/drawing/2014/main" id="{A412ECB0-A0F7-C3C3-CD7E-53BD5017498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553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 &amp; Copy - Yellow Light Mode">
    <p:bg>
      <p:bgPr>
        <a:blipFill dpi="0" rotWithShape="1">
          <a:blip r:embed="rId2" cstate="screen">
            <a:alphaModFix amt="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647B443-B36F-0143-9A72-596E9458A3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7" name="Round Single Corner of Rectangle 6">
            <a:extLst>
              <a:ext uri="{FF2B5EF4-FFF2-40B4-BE49-F238E27FC236}">
                <a16:creationId xmlns:a16="http://schemas.microsoft.com/office/drawing/2014/main" id="{CDACC711-C51A-FB4F-8AD7-5F9DB35F71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6096000" y="0"/>
            <a:ext cx="6096000" cy="6858000"/>
          </a:xfrm>
          <a:prstGeom prst="round1Rect">
            <a:avLst>
              <a:gd name="adj" fmla="val 20797"/>
            </a:avLst>
          </a:prstGeom>
          <a:solidFill>
            <a:srgbClr val="FFF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Poppins" panose="00000500000000000000" pitchFamily="2" charset="0"/>
            </a:endParaRP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AE055DE8-0C87-1B8E-B033-C6AACEF7E8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8"/>
            <a:ext cx="432580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A7B175B1-4990-DB78-B09A-5CABDC6E09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4325807" cy="49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5C357FA-846B-A0EC-644D-8C00E0D073E6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rgbClr val="06064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91828A5-E0F9-F12F-D6E9-03BB177B08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404664"/>
            <a:ext cx="4912997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9CF92BA-CA8F-0DC8-7240-3FE5CDE331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912168"/>
            <a:ext cx="4912997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FC3A49A-8F27-4ABD-3E82-D19FBB8B20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105" y="2668674"/>
            <a:ext cx="4325807" cy="3041010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pic>
        <p:nvPicPr>
          <p:cNvPr id="2" name="Picture 1" descr="The Open University Logo">
            <a:extLst>
              <a:ext uri="{FF2B5EF4-FFF2-40B4-BE49-F238E27FC236}">
                <a16:creationId xmlns:a16="http://schemas.microsoft.com/office/drawing/2014/main" id="{A1EF4921-C4EA-38D0-FDB1-827E4E6B7F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575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Media - Blue">
    <p:bg>
      <p:bgPr>
        <a:blipFill dpi="0" rotWithShape="1">
          <a:blip r:embed="rId2" cstate="screen">
            <a:alphaModFix amt="8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9A20ABB2-4946-8543-8051-832C526BDE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9"/>
            <a:ext cx="4128571" cy="276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5F2301F-306F-F745-8E98-23873CA633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4922617" cy="4741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C560DF7B-AF74-3B4B-9618-C8D97385E9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8724" y="1676669"/>
            <a:ext cx="4128571" cy="276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16DB742-7748-6B47-8825-E1F742F7A3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8724" y="2093471"/>
            <a:ext cx="4922617" cy="4741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4D9318EE-FBC8-5864-3CD0-AE0098E538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404664"/>
            <a:ext cx="10797426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E84F7B52-8D5A-AF1A-29EE-E205DB0920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912168"/>
            <a:ext cx="10797426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7D29F004-17E9-56AE-60BE-6AF7E9D45C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01105" y="2642305"/>
            <a:ext cx="4922617" cy="30726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3"/>
              </a:buBlip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EEA18CF2-7030-5F92-17DA-C816F4E6622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88724" y="2642305"/>
            <a:ext cx="4922617" cy="30726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3"/>
              </a:buBlip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EA096BC-E124-A3C8-7101-B7F957B017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3F19E9F-F344-6302-5340-E96D54FF2151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 descr="The Open University Logo">
            <a:extLst>
              <a:ext uri="{FF2B5EF4-FFF2-40B4-BE49-F238E27FC236}">
                <a16:creationId xmlns:a16="http://schemas.microsoft.com/office/drawing/2014/main" id="{38D216E0-7352-C52F-6A35-B80CBA18497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0226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Media - Green">
    <p:bg>
      <p:bgPr>
        <a:blipFill dpi="0" rotWithShape="1">
          <a:blip r:embed="rId2" cstate="screen">
            <a:alphaModFix amt="66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C2A4FC37-64F1-B22C-8E38-7A3C90DBFD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9"/>
            <a:ext cx="4128571" cy="276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0ABC2298-01AB-ED2E-6E05-CA32FACF9E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4922617" cy="4741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8FAAEB2F-DEF2-71DD-AF98-C0A446D122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8724" y="1676669"/>
            <a:ext cx="4128571" cy="276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8EA9D7F9-BC14-C206-DFF8-5ABCD5E6E7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8724" y="2093471"/>
            <a:ext cx="4922617" cy="4741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C2A8E84-605E-EB25-4A36-3D3984B92A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404664"/>
            <a:ext cx="10797426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96C642D6-66F1-8A0A-CDDC-2EBC92AF86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912168"/>
            <a:ext cx="10797426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CA09EE3C-F0CF-8B96-88AA-6DE36F7A6C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01105" y="2642305"/>
            <a:ext cx="4922617" cy="30726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3"/>
              </a:buBlip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9391E2F5-B870-1650-36DA-566F186BE6B9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88724" y="2642305"/>
            <a:ext cx="4922617" cy="30726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3"/>
              </a:buBlip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F3714E0-498A-B29B-94FB-DA93A6A966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9E8BF09-B464-A1E1-02C2-01D09400BA77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 descr="The Open University Logo">
            <a:extLst>
              <a:ext uri="{FF2B5EF4-FFF2-40B4-BE49-F238E27FC236}">
                <a16:creationId xmlns:a16="http://schemas.microsoft.com/office/drawing/2014/main" id="{1EB04BC9-BBC1-9452-43AC-4FD759F04F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10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Media - Pink">
    <p:bg>
      <p:bgPr>
        <a:blipFill dpi="0" rotWithShape="1">
          <a:blip r:embed="rId2" cstate="screen">
            <a:alphaModFix amt="55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DA1F39E-370E-9BF5-101D-A0A5D784F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9"/>
            <a:ext cx="4128571" cy="276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DFB8AF0D-6CCE-C411-DB47-6E723C8720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4922617" cy="4741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77B68DC7-43A5-C3AB-0F02-A24CE21AC0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8724" y="1676669"/>
            <a:ext cx="4128571" cy="276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998BAA85-672C-2406-1402-92D7361EB7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8724" y="2093471"/>
            <a:ext cx="4922617" cy="4741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114C635-6BF1-6FFE-A4DB-8BB78F696D8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404664"/>
            <a:ext cx="10797426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530D6A-EBB8-CD26-B104-C0F70BBC94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912168"/>
            <a:ext cx="10797426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3E24F392-DCB7-9BFE-802F-2C3A475EA0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01105" y="2642305"/>
            <a:ext cx="4922617" cy="30726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3"/>
              </a:buBlip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C48C1F3A-E328-D7D8-0A81-F997F4F944D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88724" y="2642305"/>
            <a:ext cx="4922617" cy="30726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3"/>
              </a:buBlip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5771C0-93BA-5ADF-64A4-2A43F86D5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EBDBA90-2059-F1EB-DC4D-1F490EC5C85F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" name="Picture 3" descr="The Open University Logo">
            <a:extLst>
              <a:ext uri="{FF2B5EF4-FFF2-40B4-BE49-F238E27FC236}">
                <a16:creationId xmlns:a16="http://schemas.microsoft.com/office/drawing/2014/main" id="{DBE218AA-1FFB-BE5D-8642-2B04DCCE99A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73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E28EB488-1C80-0E67-1A53-022688EC46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10740439" cy="1800200"/>
          </a:xfr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Front Cover Title Goes Here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ACA2EAA2-94E2-6FA0-C059-2C890F8692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8208" y="3846892"/>
            <a:ext cx="5557584" cy="347039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ers nam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6034E2F-27F1-1CF2-367B-4204B15ECE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8" y="4198584"/>
            <a:ext cx="5557584" cy="347039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epartment nam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1276E79C-EF9C-9014-0C08-C31EE127DC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208" y="4545623"/>
            <a:ext cx="5557584" cy="347039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98D122DE-5974-E6F7-5A07-1674D74454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208" y="2431330"/>
            <a:ext cx="10740438" cy="1305402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</a:t>
            </a:r>
          </a:p>
        </p:txBody>
      </p:sp>
      <p:pic>
        <p:nvPicPr>
          <p:cNvPr id="6" name="Picture 5" descr="The Open University Logo">
            <a:extLst>
              <a:ext uri="{FF2B5EF4-FFF2-40B4-BE49-F238E27FC236}">
                <a16:creationId xmlns:a16="http://schemas.microsoft.com/office/drawing/2014/main" id="{21830BFA-19EA-B404-F805-72BD114E6B2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5" y="5829301"/>
            <a:ext cx="1709992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205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Media - Yellow">
    <p:bg>
      <p:bgPr>
        <a:blipFill dpi="0" rotWithShape="1">
          <a:blip r:embed="rId2" cstate="screen">
            <a:alphaModFix amt="28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8EEEF07-1889-D507-89A8-BB2EE63EB0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BEC0FC6-0311-3559-C180-50FE399D9C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1105" y="1676669"/>
            <a:ext cx="4128571" cy="276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D1F924AA-0E70-3369-B99A-AAFFD470F4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2093471"/>
            <a:ext cx="4922617" cy="4741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87F5EB3-C62D-D57D-1AAE-737B9D43A0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8724" y="1676669"/>
            <a:ext cx="4128571" cy="276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FD2D1B6-81BB-517B-130B-5D9202C4FA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8724" y="2093471"/>
            <a:ext cx="4922617" cy="4741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ody copy goes here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DFA7EF7-2594-397E-B832-BCDBA1E05203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C2BD26A5-F2B2-8F17-EF04-893F385126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915" y="404664"/>
            <a:ext cx="10797426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A620FFB-407F-A512-2C9D-569EEBC1E88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3915" y="912168"/>
            <a:ext cx="10797426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header</a:t>
            </a:r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3F65C4A6-90EE-54F5-1CA2-BBB24F562C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01105" y="2642305"/>
            <a:ext cx="4922617" cy="30726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801F7FFA-E94E-A280-B1B5-ACAC603AC4B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288724" y="2642305"/>
            <a:ext cx="4922617" cy="30726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4"/>
              </a:buBlip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1500"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5" name="Picture 4" descr="The Open University Logo">
            <a:extLst>
              <a:ext uri="{FF2B5EF4-FFF2-40B4-BE49-F238E27FC236}">
                <a16:creationId xmlns:a16="http://schemas.microsoft.com/office/drawing/2014/main" id="{5E1AC07D-4E2F-CEA1-4D8E-FFA7745DD91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9783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467C06D-0BA0-E66A-1254-70AFC15871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0167" y="3124517"/>
            <a:ext cx="7500938" cy="6089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400" b="1">
                <a:solidFill>
                  <a:schemeClr val="bg1"/>
                </a:solidFill>
                <a:latin typeface="Poppins SemiBold" panose="00000700000000000000" pitchFamily="50" charset="0"/>
                <a:cs typeface="Poppins SemiBold" panose="00000700000000000000" pitchFamily="50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GB"/>
              <a:t>Type your message here</a:t>
            </a:r>
          </a:p>
        </p:txBody>
      </p:sp>
      <p:pic>
        <p:nvPicPr>
          <p:cNvPr id="2" name="Picture 1" descr="The Open University Logo">
            <a:extLst>
              <a:ext uri="{FF2B5EF4-FFF2-40B4-BE49-F238E27FC236}">
                <a16:creationId xmlns:a16="http://schemas.microsoft.com/office/drawing/2014/main" id="{98F1B169-2DA1-B49F-3EA1-DD312E568D4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5" y="5829301"/>
            <a:ext cx="1709992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2600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he Open University Logo">
            <a:extLst>
              <a:ext uri="{FF2B5EF4-FFF2-40B4-BE49-F238E27FC236}">
                <a16:creationId xmlns:a16="http://schemas.microsoft.com/office/drawing/2014/main" id="{EA88F0E0-0334-005F-5AE6-97F8EFADF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4299" y="2622093"/>
            <a:ext cx="6043402" cy="202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2940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761" y="2880001"/>
            <a:ext cx="11486267" cy="132959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773" y="4222679"/>
            <a:ext cx="11486268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4" indent="0" algn="ctr">
              <a:buNone/>
              <a:defRPr sz="1801"/>
            </a:lvl3pPr>
            <a:lvl4pPr marL="1371531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en-US" dirty="0"/>
              <a:t>SUB TITLE IN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65759" y="6321601"/>
            <a:ext cx="2743200" cy="18466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1509" y="5507028"/>
            <a:ext cx="1460553" cy="99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7008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- jus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609570" indent="0">
              <a:buNone/>
              <a:defRPr sz="1600"/>
            </a:lvl2pPr>
            <a:lvl3pPr marL="1219139" indent="0">
              <a:buNone/>
              <a:defRPr sz="1600"/>
            </a:lvl3pPr>
            <a:lvl4pPr marL="1828709" indent="0">
              <a:buNone/>
              <a:defRPr sz="1600"/>
            </a:lvl4pPr>
            <a:lvl5pPr marL="2438278" indent="0">
              <a:buNone/>
              <a:defRPr sz="160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8939381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286665" y="505765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86613" y="1051419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6006613" y="105139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6006613" y="1410244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286613" y="1985429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6006613" y="1985405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9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6006613" y="234425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286613" y="2919438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41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6006613" y="291941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2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006613" y="327826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6613" y="3853444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44" name="Text Placeholder 31"/>
          <p:cNvSpPr>
            <a:spLocks noGrp="1"/>
          </p:cNvSpPr>
          <p:nvPr>
            <p:ph type="body" sz="quarter" idx="21" hasCustomPrompt="1"/>
          </p:nvPr>
        </p:nvSpPr>
        <p:spPr>
          <a:xfrm>
            <a:off x="6006613" y="385342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5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6006613" y="4212272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5286613" y="4787455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5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6006613" y="478743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8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6006613" y="514628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286613" y="5721466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6</a:t>
            </a:r>
          </a:p>
        </p:txBody>
      </p:sp>
      <p:sp>
        <p:nvSpPr>
          <p:cNvPr id="50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6006613" y="572144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1" name="Text Placeholder 31"/>
          <p:cNvSpPr>
            <a:spLocks noGrp="1"/>
          </p:cNvSpPr>
          <p:nvPr>
            <p:ph type="body" sz="quarter" idx="28" hasCustomPrompt="1"/>
          </p:nvPr>
        </p:nvSpPr>
        <p:spPr>
          <a:xfrm>
            <a:off x="6006613" y="608029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800000" cy="6858000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6134603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518413" y="535873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 numCol="2" spcCol="360000"/>
          <a:lstStyle>
            <a:lvl1pPr marL="0" indent="0" algn="l" defTabSz="383981">
              <a:lnSpc>
                <a:spcPts val="2133"/>
              </a:lnSpc>
              <a:buNone/>
              <a:defRPr sz="1600" b="1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00	Insert contents listing (2 columns)</a:t>
            </a:r>
          </a:p>
        </p:txBody>
      </p:sp>
    </p:spTree>
    <p:extLst>
      <p:ext uri="{BB962C8B-B14F-4D97-AF65-F5344CB8AC3E}">
        <p14:creationId xmlns:p14="http://schemas.microsoft.com/office/powerpoint/2010/main" val="33569490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609570" indent="0">
              <a:buNone/>
              <a:defRPr sz="1600"/>
            </a:lvl2pPr>
            <a:lvl3pPr marL="1219139" indent="0">
              <a:buNone/>
              <a:defRPr sz="1600"/>
            </a:lvl3pPr>
            <a:lvl4pPr marL="1828709" indent="0">
              <a:buNone/>
              <a:defRPr sz="1600"/>
            </a:lvl4pPr>
            <a:lvl5pPr marL="2438278" indent="0">
              <a:buNone/>
              <a:defRPr sz="160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271440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76000" y="1440000"/>
            <a:ext cx="1113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4111093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m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2400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aphs and graphics can be positioned over the grey box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456001" y="1440484"/>
            <a:ext cx="825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0316998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C4D0DBB-988A-6342-8902-0563E9803C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5119" y="404664"/>
            <a:ext cx="471531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s Title 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AD27DD2-BE62-DA40-8EBD-559298C562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12873" y="1539489"/>
            <a:ext cx="4014180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 Chapter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254454E-2B5C-B046-98EC-9A0A923749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2873" y="2882868"/>
            <a:ext cx="4014180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 Chapter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AB826CD5-5C92-B242-BB8B-DD1F577280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75119" y="1539489"/>
            <a:ext cx="747051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9A813DF2-0556-7B4C-A30B-8A7253CE58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75119" y="2881839"/>
            <a:ext cx="747051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3B3B649-1EB8-9846-A24F-3002667E74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51118"/>
            <a:ext cx="4613762" cy="2306881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3BBE70E-03E7-644A-BA5E-E3A0B91311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22170" y="1896175"/>
            <a:ext cx="3118585" cy="810811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buFontTx/>
              <a:buBlip>
                <a:blip r:embed="rId3"/>
              </a:buBlip>
              <a:defRPr sz="15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-Content 01</a:t>
            </a:r>
          </a:p>
          <a:p>
            <a:pPr lvl="0"/>
            <a:r>
              <a:rPr lang="en-GB"/>
              <a:t>Sub-Content 02</a:t>
            </a:r>
          </a:p>
          <a:p>
            <a:pPr lvl="0"/>
            <a:r>
              <a:rPr lang="en-GB"/>
              <a:t>Sub-Content 03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B1D217B3-A93E-1105-52D4-A2BC7A46BC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01" y="1"/>
            <a:ext cx="4611462" cy="4551117"/>
          </a:xfrm>
          <a:custGeom>
            <a:avLst/>
            <a:gdLst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0 w 9061155"/>
              <a:gd name="connsiteY7" fmla="*/ 19423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4449693 w 9061155"/>
              <a:gd name="connsiteY5" fmla="*/ 45384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5191279"/>
              <a:gd name="connsiteX1" fmla="*/ 7118829 w 9061155"/>
              <a:gd name="connsiteY1" fmla="*/ 0 h 5191279"/>
              <a:gd name="connsiteX2" fmla="*/ 9061155 w 9061155"/>
              <a:gd name="connsiteY2" fmla="*/ 1942326 h 5191279"/>
              <a:gd name="connsiteX3" fmla="*/ 9061155 w 9061155"/>
              <a:gd name="connsiteY3" fmla="*/ 4330524 h 5191279"/>
              <a:gd name="connsiteX4" fmla="*/ 8840562 w 9061155"/>
              <a:gd name="connsiteY4" fmla="*/ 4551117 h 5191279"/>
              <a:gd name="connsiteX5" fmla="*/ 4449693 w 9061155"/>
              <a:gd name="connsiteY5" fmla="*/ 4538417 h 5191279"/>
              <a:gd name="connsiteX6" fmla="*/ 0 w 9061155"/>
              <a:gd name="connsiteY6" fmla="*/ 4330524 h 5191279"/>
              <a:gd name="connsiteX7" fmla="*/ 1905000 w 9061155"/>
              <a:gd name="connsiteY7" fmla="*/ 1955026 h 5191279"/>
              <a:gd name="connsiteX8" fmla="*/ 1942326 w 9061155"/>
              <a:gd name="connsiteY8" fmla="*/ 0 h 5191279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4449693 w 9061155"/>
              <a:gd name="connsiteY5" fmla="*/ 45384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9669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9669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34815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34815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3481566 w 8085795"/>
              <a:gd name="connsiteY7" fmla="*/ 0 h 4551117"/>
              <a:gd name="connsiteX0" fmla="*/ 451391 w 5055620"/>
              <a:gd name="connsiteY0" fmla="*/ 0 h 4551117"/>
              <a:gd name="connsiteX1" fmla="*/ 3113294 w 5055620"/>
              <a:gd name="connsiteY1" fmla="*/ 0 h 4551117"/>
              <a:gd name="connsiteX2" fmla="*/ 5055620 w 5055620"/>
              <a:gd name="connsiteY2" fmla="*/ 1942326 h 4551117"/>
              <a:gd name="connsiteX3" fmla="*/ 5055620 w 5055620"/>
              <a:gd name="connsiteY3" fmla="*/ 4330524 h 4551117"/>
              <a:gd name="connsiteX4" fmla="*/ 4835027 w 5055620"/>
              <a:gd name="connsiteY4" fmla="*/ 4551117 h 4551117"/>
              <a:gd name="connsiteX5" fmla="*/ 444158 w 5055620"/>
              <a:gd name="connsiteY5" fmla="*/ 4538417 h 4551117"/>
              <a:gd name="connsiteX6" fmla="*/ 451391 w 5055620"/>
              <a:gd name="connsiteY6" fmla="*/ 0 h 4551117"/>
              <a:gd name="connsiteX0" fmla="*/ 330721 w 4934950"/>
              <a:gd name="connsiteY0" fmla="*/ 0 h 4551117"/>
              <a:gd name="connsiteX1" fmla="*/ 2992624 w 4934950"/>
              <a:gd name="connsiteY1" fmla="*/ 0 h 4551117"/>
              <a:gd name="connsiteX2" fmla="*/ 4934950 w 4934950"/>
              <a:gd name="connsiteY2" fmla="*/ 1942326 h 4551117"/>
              <a:gd name="connsiteX3" fmla="*/ 4934950 w 4934950"/>
              <a:gd name="connsiteY3" fmla="*/ 4330524 h 4551117"/>
              <a:gd name="connsiteX4" fmla="*/ 4714357 w 4934950"/>
              <a:gd name="connsiteY4" fmla="*/ 4551117 h 4551117"/>
              <a:gd name="connsiteX5" fmla="*/ 323488 w 4934950"/>
              <a:gd name="connsiteY5" fmla="*/ 4538417 h 4551117"/>
              <a:gd name="connsiteX6" fmla="*/ 330721 w 4934950"/>
              <a:gd name="connsiteY6" fmla="*/ 0 h 4551117"/>
              <a:gd name="connsiteX0" fmla="*/ 7233 w 4611462"/>
              <a:gd name="connsiteY0" fmla="*/ 0 h 4551117"/>
              <a:gd name="connsiteX1" fmla="*/ 2669136 w 4611462"/>
              <a:gd name="connsiteY1" fmla="*/ 0 h 4551117"/>
              <a:gd name="connsiteX2" fmla="*/ 4611462 w 4611462"/>
              <a:gd name="connsiteY2" fmla="*/ 1942326 h 4551117"/>
              <a:gd name="connsiteX3" fmla="*/ 4611462 w 4611462"/>
              <a:gd name="connsiteY3" fmla="*/ 4330524 h 4551117"/>
              <a:gd name="connsiteX4" fmla="*/ 4390869 w 4611462"/>
              <a:gd name="connsiteY4" fmla="*/ 4551117 h 4551117"/>
              <a:gd name="connsiteX5" fmla="*/ 0 w 4611462"/>
              <a:gd name="connsiteY5" fmla="*/ 4538417 h 4551117"/>
              <a:gd name="connsiteX6" fmla="*/ 7233 w 4611462"/>
              <a:gd name="connsiteY6" fmla="*/ 0 h 4551117"/>
              <a:gd name="connsiteX0" fmla="*/ 7233 w 4611462"/>
              <a:gd name="connsiteY0" fmla="*/ 0 h 4551117"/>
              <a:gd name="connsiteX1" fmla="*/ 2669136 w 4611462"/>
              <a:gd name="connsiteY1" fmla="*/ 0 h 4551117"/>
              <a:gd name="connsiteX2" fmla="*/ 4611462 w 4611462"/>
              <a:gd name="connsiteY2" fmla="*/ 1942326 h 4551117"/>
              <a:gd name="connsiteX3" fmla="*/ 4611462 w 4611462"/>
              <a:gd name="connsiteY3" fmla="*/ 4330524 h 4551117"/>
              <a:gd name="connsiteX4" fmla="*/ 4390869 w 4611462"/>
              <a:gd name="connsiteY4" fmla="*/ 4551117 h 4551117"/>
              <a:gd name="connsiteX5" fmla="*/ 0 w 4611462"/>
              <a:gd name="connsiteY5" fmla="*/ 4538417 h 4551117"/>
              <a:gd name="connsiteX6" fmla="*/ 7233 w 4611462"/>
              <a:gd name="connsiteY6" fmla="*/ 0 h 4551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11462" h="4551117">
                <a:moveTo>
                  <a:pt x="7233" y="0"/>
                </a:moveTo>
                <a:lnTo>
                  <a:pt x="2669136" y="0"/>
                </a:lnTo>
                <a:cubicBezTo>
                  <a:pt x="3741853" y="0"/>
                  <a:pt x="4611462" y="869609"/>
                  <a:pt x="4611462" y="1942326"/>
                </a:cubicBezTo>
                <a:lnTo>
                  <a:pt x="4611462" y="4330524"/>
                </a:lnTo>
                <a:cubicBezTo>
                  <a:pt x="4611462" y="4452354"/>
                  <a:pt x="4512699" y="4551117"/>
                  <a:pt x="4390869" y="4551117"/>
                </a:cubicBezTo>
                <a:lnTo>
                  <a:pt x="0" y="4538417"/>
                </a:lnTo>
                <a:cubicBezTo>
                  <a:pt x="8534" y="3642738"/>
                  <a:pt x="4337" y="1106923"/>
                  <a:pt x="7233" y="0"/>
                </a:cubicBezTo>
                <a:close/>
              </a:path>
            </a:pathLst>
          </a:cu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931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13" y="1440000"/>
            <a:ext cx="4527551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568000" y="1440000"/>
            <a:ext cx="6144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8259962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13" y="4182563"/>
            <a:ext cx="4527551" cy="2195437"/>
          </a:xfrm>
          <a:prstGeom prst="rect">
            <a:avLst/>
          </a:prstGeom>
        </p:spPr>
        <p:txBody>
          <a:bodyPr lIns="0" tIns="0" rIns="0" bIns="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582417" y="1440484"/>
            <a:ext cx="6129599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76013" y="1440000"/>
            <a:ext cx="4527551" cy="2454560"/>
          </a:xfrm>
          <a:prstGeom prst="rect">
            <a:avLst/>
          </a:prstGeom>
        </p:spPr>
        <p:txBody>
          <a:bodyPr lIns="0" tIns="0" rIns="0" bIns="0" numCol="2" spcCol="288000"/>
          <a:lstStyle>
            <a:lvl1pPr marL="0" indent="0" algn="l">
              <a:buNone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harts, graphs and graphics can be positioned over the grey box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Body text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967603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840000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104003" y="1440000"/>
            <a:ext cx="4607999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4132441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14"/>
            <a:ext cx="11136000" cy="2226767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3954794"/>
            <a:ext cx="11136000" cy="2423231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2373879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10972800" cy="914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5240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0"/>
          <p:cNvSpPr>
            <a:spLocks noGrp="1" noChangeArrowheads="1"/>
          </p:cNvSpPr>
          <p:nvPr>
            <p:ph type="ftr" sz="quarter" idx="10"/>
          </p:nvPr>
        </p:nvSpPr>
        <p:spPr>
          <a:xfrm>
            <a:off x="814929" y="6245225"/>
            <a:ext cx="102743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Denise Whitelock, ICETM 2021</a:t>
            </a:r>
          </a:p>
        </p:txBody>
      </p:sp>
    </p:spTree>
    <p:extLst>
      <p:ext uri="{BB962C8B-B14F-4D97-AF65-F5344CB8AC3E}">
        <p14:creationId xmlns:p14="http://schemas.microsoft.com/office/powerpoint/2010/main" val="12105525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layout - 3 colum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body" idx="1"/>
          </p:nvPr>
        </p:nvSpPr>
        <p:spPr>
          <a:xfrm>
            <a:off x="575999" y="1440002"/>
            <a:ext cx="2880000" cy="5418001"/>
          </a:xfrm>
          <a:prstGeom prst="rect">
            <a:avLst/>
          </a:prstGeom>
        </p:spPr>
        <p:txBody>
          <a:bodyPr/>
          <a:lstStyle>
            <a:lvl2pPr marL="685766" indent="-228588">
              <a:buSzPct val="100000"/>
              <a:buChar char="•"/>
            </a:lvl2pPr>
            <a:lvl3pPr marL="1142942" indent="-228588">
              <a:buSzPct val="100000"/>
              <a:buChar char="•"/>
            </a:lvl3pPr>
            <a:lvl4pPr marL="1600119" indent="-228588">
              <a:buSzPct val="100000"/>
              <a:buChar char="•"/>
            </a:lvl4pPr>
            <a:lvl5pPr marL="2057298" indent="-228588">
              <a:buSzPct val="100000"/>
              <a:buChar char="•"/>
            </a:lvl5pPr>
          </a:lstStyle>
          <a:p>
            <a:pPr lvl="0">
              <a:defRPr sz="1800"/>
            </a:pPr>
            <a:r>
              <a:rPr sz="1200"/>
              <a:t>Body Level One</a:t>
            </a:r>
          </a:p>
          <a:p>
            <a:pPr lvl="1">
              <a:defRPr sz="1800"/>
            </a:pPr>
            <a:r>
              <a:rPr sz="1200"/>
              <a:t>Body Level Two</a:t>
            </a:r>
          </a:p>
          <a:p>
            <a:pPr lvl="2">
              <a:defRPr sz="1800"/>
            </a:pPr>
            <a:r>
              <a:rPr sz="1200"/>
              <a:t>Body Level Three</a:t>
            </a:r>
          </a:p>
          <a:p>
            <a:pPr lvl="3">
              <a:defRPr sz="1800"/>
            </a:pPr>
            <a:r>
              <a:rPr sz="1200"/>
              <a:t>Body Level Four</a:t>
            </a:r>
          </a:p>
          <a:p>
            <a:pPr lvl="4">
              <a:defRPr sz="1800"/>
            </a:pPr>
            <a:r>
              <a:rPr sz="1200"/>
              <a:t>Body Level Five</a:t>
            </a:r>
          </a:p>
        </p:txBody>
      </p:sp>
      <p:sp>
        <p:nvSpPr>
          <p:cNvPr id="73" name="Shape 73"/>
          <p:cNvSpPr>
            <a:spLocks noGrp="1"/>
          </p:cNvSpPr>
          <p:nvPr>
            <p:ph type="title"/>
          </p:nvPr>
        </p:nvSpPr>
        <p:spPr>
          <a:xfrm>
            <a:off x="518405" y="2"/>
            <a:ext cx="1680001" cy="1349236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1400">
                <a:solidFill>
                  <a:srgbClr val="FFFFFF"/>
                </a:solidFill>
              </a:rPr>
              <a:t>Title Tex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6371C-2DFF-6C41-8678-201E10BDCF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78733" y="320697"/>
            <a:ext cx="921289" cy="605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376171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707753FD-45BD-394A-9438-7ACFF2A128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43278" y="292291"/>
            <a:ext cx="994679" cy="6798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B7CD008-2AB4-134A-BEEF-838EFEA73B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9502" y="3216388"/>
            <a:ext cx="2110461" cy="795173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00" b="1" kern="1200" cap="all" baseline="0" dirty="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F0084D-9B79-3747-8AE4-535D728D8C6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4249" y="2306219"/>
            <a:ext cx="5299296" cy="746012"/>
          </a:xfrm>
          <a:noFill/>
        </p:spPr>
        <p:txBody>
          <a:bodyPr>
            <a:no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52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PRESENTATION</a:t>
            </a:r>
          </a:p>
        </p:txBody>
      </p:sp>
    </p:spTree>
    <p:extLst>
      <p:ext uri="{BB962C8B-B14F-4D97-AF65-F5344CB8AC3E}">
        <p14:creationId xmlns:p14="http://schemas.microsoft.com/office/powerpoint/2010/main" val="1526046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2698E74-DBB1-4C41-81D5-108634391B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3171" y="1176755"/>
            <a:ext cx="720000" cy="503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27D262DD-86D2-472F-9233-2CA4C4F3C4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63171" y="1176733"/>
            <a:ext cx="4276075" cy="26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8" name="Text Placeholder 31">
            <a:extLst>
              <a:ext uri="{FF2B5EF4-FFF2-40B4-BE49-F238E27FC236}">
                <a16:creationId xmlns:a16="http://schemas.microsoft.com/office/drawing/2014/main" id="{C0A8910E-3E33-41A3-816B-CD71BE1D50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3171" y="1445872"/>
            <a:ext cx="4276075" cy="36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C7DBC2F-B4BA-4FA1-AC8F-C1FB5D329C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43171" y="1877250"/>
            <a:ext cx="720000" cy="503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E96BEFDD-99B7-4B7A-A883-501F05DEBE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3171" y="1877241"/>
            <a:ext cx="4276075" cy="26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8F24DFEC-E082-454B-B5C3-50F1E1DD32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3171" y="2146379"/>
            <a:ext cx="4276075" cy="36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3A914CD-C11D-48A8-88E1-538FBD1096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43171" y="2577769"/>
            <a:ext cx="720000" cy="503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5E5D34B7-01F5-4524-B815-3E8FD22045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63171" y="2577749"/>
            <a:ext cx="4276075" cy="26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745E9020-E3D4-4B2E-AF64-3BC2BA8099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63171" y="2846887"/>
            <a:ext cx="4276075" cy="36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E31EB1E-53F8-4104-A8D0-0BEFB18961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43171" y="3278272"/>
            <a:ext cx="720000" cy="503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3DEAAE69-8D81-471C-A294-06DD17336F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63171" y="3278257"/>
            <a:ext cx="4276075" cy="26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01E75DFE-469F-4162-BFD7-0AD3CC0605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63171" y="3547393"/>
            <a:ext cx="4276075" cy="36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16FACADA-AE0B-4A02-B7FE-F03E903A20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3171" y="3978782"/>
            <a:ext cx="720000" cy="503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5</a:t>
            </a:r>
          </a:p>
        </p:txBody>
      </p:sp>
      <p:sp>
        <p:nvSpPr>
          <p:cNvPr id="21" name="Text Placeholder 31">
            <a:extLst>
              <a:ext uri="{FF2B5EF4-FFF2-40B4-BE49-F238E27FC236}">
                <a16:creationId xmlns:a16="http://schemas.microsoft.com/office/drawing/2014/main" id="{1BE90D09-E40F-4E07-8A6C-C34ECB3A0C7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63171" y="3978761"/>
            <a:ext cx="4276075" cy="26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22" name="Text Placeholder 31">
            <a:extLst>
              <a:ext uri="{FF2B5EF4-FFF2-40B4-BE49-F238E27FC236}">
                <a16:creationId xmlns:a16="http://schemas.microsoft.com/office/drawing/2014/main" id="{E8BCD20F-DF5A-4D1F-AB59-8992CCEB4E7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63171" y="4247900"/>
            <a:ext cx="4276075" cy="36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CA99EFB-8D03-4007-813F-E6174F0308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43171" y="4679290"/>
            <a:ext cx="720000" cy="503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6</a:t>
            </a:r>
          </a:p>
        </p:txBody>
      </p:sp>
      <p:sp>
        <p:nvSpPr>
          <p:cNvPr id="24" name="Text Placeholder 31">
            <a:extLst>
              <a:ext uri="{FF2B5EF4-FFF2-40B4-BE49-F238E27FC236}">
                <a16:creationId xmlns:a16="http://schemas.microsoft.com/office/drawing/2014/main" id="{75297938-8904-4A58-BECE-919189BAA5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63171" y="4679269"/>
            <a:ext cx="4276075" cy="261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25" name="Text Placeholder 31">
            <a:extLst>
              <a:ext uri="{FF2B5EF4-FFF2-40B4-BE49-F238E27FC236}">
                <a16:creationId xmlns:a16="http://schemas.microsoft.com/office/drawing/2014/main" id="{EF1B2FF4-CFE5-4357-917A-0266982251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63171" y="4948407"/>
            <a:ext cx="4276075" cy="36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ABF0E3-1A7E-434D-B96E-F3343B8E07D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5101227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="1"/>
            </a:lvl1pPr>
          </a:lstStyle>
          <a:p>
            <a:r>
              <a:rPr lang="en-GB" dirty="0"/>
              <a:t>INSERT IMAGE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25039EFD-26D4-4EFF-80C8-2DEC577006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43173" y="770473"/>
            <a:ext cx="1392500" cy="21207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32" name="Slide Number Placeholder 8">
            <a:extLst>
              <a:ext uri="{FF2B5EF4-FFF2-40B4-BE49-F238E27FC236}">
                <a16:creationId xmlns:a16="http://schemas.microsoft.com/office/drawing/2014/main" id="{6FBBA16B-4607-4475-9AA9-35D51BE89C52}"/>
              </a:ext>
            </a:extLst>
          </p:cNvPr>
          <p:cNvSpPr txBox="1">
            <a:spLocks/>
          </p:cNvSpPr>
          <p:nvPr userDrawn="1"/>
        </p:nvSpPr>
        <p:spPr>
          <a:xfrm>
            <a:off x="11536392" y="6364969"/>
            <a:ext cx="655608" cy="491707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6593E-52CF-5B45-8CFF-7309163A4729}" type="slidenum">
              <a:rPr lang="en-US" sz="1600" smtClean="0">
                <a:solidFill>
                  <a:prstClr val="white"/>
                </a:solidFill>
              </a:rPr>
              <a:pPr/>
              <a:t>‹#›</a:t>
            </a:fld>
            <a:endParaRPr lang="en-US" sz="16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741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F9A53DE-293F-4D46-94A3-8EB81742DFC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080006"/>
            <a:ext cx="10960392" cy="5284967"/>
          </a:xfrm>
          <a:prstGeom prst="rect">
            <a:avLst/>
          </a:prstGeom>
        </p:spPr>
        <p:txBody>
          <a:bodyPr lIns="36000" tIns="36000" rIns="36000" bIns="36000" numCol="2" spcCol="360000"/>
          <a:lstStyle>
            <a:lvl1pPr marL="0" indent="0" algn="l" defTabSz="383981">
              <a:lnSpc>
                <a:spcPts val="2133"/>
              </a:lnSpc>
              <a:buNone/>
              <a:defRPr sz="1600" b="1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00	Insert contents listing (2 columns)</a:t>
            </a:r>
          </a:p>
        </p:txBody>
      </p:sp>
      <p:sp>
        <p:nvSpPr>
          <p:cNvPr id="30" name="Slide Number Placeholder 8">
            <a:extLst>
              <a:ext uri="{FF2B5EF4-FFF2-40B4-BE49-F238E27FC236}">
                <a16:creationId xmlns:a16="http://schemas.microsoft.com/office/drawing/2014/main" id="{CDC988AE-A153-4139-8BF1-831C2BFCA50D}"/>
              </a:ext>
            </a:extLst>
          </p:cNvPr>
          <p:cNvSpPr txBox="1">
            <a:spLocks/>
          </p:cNvSpPr>
          <p:nvPr userDrawn="1"/>
        </p:nvSpPr>
        <p:spPr>
          <a:xfrm>
            <a:off x="11536392" y="6364969"/>
            <a:ext cx="655608" cy="491707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6593E-52CF-5B45-8CFF-7309163A4729}" type="slidenum">
              <a:rPr lang="en-US" sz="1600" smtClean="0">
                <a:solidFill>
                  <a:prstClr val="white"/>
                </a:solidFill>
              </a:rPr>
              <a:pPr/>
              <a:t>‹#›</a:t>
            </a:fld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91B7A03-C365-4ED6-962E-93EA096F7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13" y="544317"/>
            <a:ext cx="1392500" cy="21207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051304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8">
            <a:extLst>
              <a:ext uri="{FF2B5EF4-FFF2-40B4-BE49-F238E27FC236}">
                <a16:creationId xmlns:a16="http://schemas.microsoft.com/office/drawing/2014/main" id="{CDC988AE-A153-4139-8BF1-831C2BFCA50D}"/>
              </a:ext>
            </a:extLst>
          </p:cNvPr>
          <p:cNvSpPr txBox="1">
            <a:spLocks/>
          </p:cNvSpPr>
          <p:nvPr userDrawn="1"/>
        </p:nvSpPr>
        <p:spPr>
          <a:xfrm>
            <a:off x="11536392" y="6364969"/>
            <a:ext cx="655608" cy="491707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6593E-52CF-5B45-8CFF-7309163A4729}" type="slidenum">
              <a:rPr lang="en-US" sz="1600" smtClean="0">
                <a:solidFill>
                  <a:prstClr val="white"/>
                </a:solidFill>
              </a:rPr>
              <a:pPr/>
              <a:t>‹#›</a:t>
            </a:fld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69DB766-747D-4928-9E02-4F5BC168A8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11" y="761461"/>
            <a:ext cx="9890807" cy="251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6ABEA7B-7448-4E43-A7A4-3421CD2E27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544317"/>
            <a:ext cx="1680000" cy="21207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DA22121-4331-41E2-B269-75755B80495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413" y="1150619"/>
            <a:ext cx="11017991" cy="5214348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>
              <a:buNone/>
              <a:defRPr sz="1600"/>
            </a:lvl1pPr>
            <a:lvl2pPr marL="609570" indent="0">
              <a:buNone/>
              <a:defRPr sz="1600"/>
            </a:lvl2pPr>
            <a:lvl3pPr marL="1219139" indent="0">
              <a:buNone/>
              <a:defRPr sz="1600"/>
            </a:lvl3pPr>
            <a:lvl4pPr marL="1828709" indent="0">
              <a:buNone/>
              <a:defRPr sz="1600"/>
            </a:lvl4pPr>
            <a:lvl5pPr marL="2438278" indent="0">
              <a:buNone/>
              <a:defRPr sz="1600"/>
            </a:lvl5pPr>
          </a:lstStyle>
          <a:p>
            <a:pPr lvl="0"/>
            <a:r>
              <a:rPr lang="en-US" dirty="0"/>
              <a:t>Body text</a:t>
            </a:r>
          </a:p>
        </p:txBody>
      </p:sp>
    </p:spTree>
    <p:extLst>
      <p:ext uri="{BB962C8B-B14F-4D97-AF65-F5344CB8AC3E}">
        <p14:creationId xmlns:p14="http://schemas.microsoft.com/office/powerpoint/2010/main" val="3291961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C4D0DBB-988A-6342-8902-0563E9803C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5119" y="404664"/>
            <a:ext cx="471531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s Title 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AD27DD2-BE62-DA40-8EBD-559298C562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12873" y="1539489"/>
            <a:ext cx="4014180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 Chapter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254454E-2B5C-B046-98EC-9A0A923749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2873" y="2882868"/>
            <a:ext cx="4014180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 Chapter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B25C514-5CFA-FD4E-BB21-038E4D8FF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436918"/>
            <a:ext cx="4613763" cy="2421083"/>
          </a:xfrm>
          <a:prstGeom prst="rect">
            <a:avLst/>
          </a:prstGeom>
        </p:spPr>
      </p:pic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AB826CD5-5C92-B242-BB8B-DD1F577280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75119" y="1539489"/>
            <a:ext cx="747051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9A813DF2-0556-7B4C-A30B-8A7253CE58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75119" y="2881839"/>
            <a:ext cx="747051" cy="289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5C52EF6-7A1A-948C-942C-0339E091A7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22170" y="1896175"/>
            <a:ext cx="3118585" cy="810811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10000"/>
              </a:lnSpc>
              <a:spcBef>
                <a:spcPts val="0"/>
              </a:spcBef>
              <a:buFontTx/>
              <a:buBlip>
                <a:blip r:embed="rId3"/>
              </a:buBlip>
              <a:defRPr sz="15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-Content 01</a:t>
            </a:r>
          </a:p>
          <a:p>
            <a:pPr lvl="0"/>
            <a:r>
              <a:rPr lang="en-GB"/>
              <a:t>Sub-Content 02</a:t>
            </a:r>
          </a:p>
          <a:p>
            <a:pPr lvl="0"/>
            <a:r>
              <a:rPr lang="en-GB"/>
              <a:t>Sub-Content 03</a:t>
            </a:r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9448C27-4172-973B-4F33-BCE2BB9A8F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01" y="1"/>
            <a:ext cx="4611462" cy="4551117"/>
          </a:xfrm>
          <a:custGeom>
            <a:avLst/>
            <a:gdLst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0 w 9061155"/>
              <a:gd name="connsiteY7" fmla="*/ 19423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220593 w 9061155"/>
              <a:gd name="connsiteY5" fmla="*/ 45511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4449693 w 9061155"/>
              <a:gd name="connsiteY5" fmla="*/ 45384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1942326 w 9061155"/>
              <a:gd name="connsiteY0" fmla="*/ 0 h 5191279"/>
              <a:gd name="connsiteX1" fmla="*/ 7118829 w 9061155"/>
              <a:gd name="connsiteY1" fmla="*/ 0 h 5191279"/>
              <a:gd name="connsiteX2" fmla="*/ 9061155 w 9061155"/>
              <a:gd name="connsiteY2" fmla="*/ 1942326 h 5191279"/>
              <a:gd name="connsiteX3" fmla="*/ 9061155 w 9061155"/>
              <a:gd name="connsiteY3" fmla="*/ 4330524 h 5191279"/>
              <a:gd name="connsiteX4" fmla="*/ 8840562 w 9061155"/>
              <a:gd name="connsiteY4" fmla="*/ 4551117 h 5191279"/>
              <a:gd name="connsiteX5" fmla="*/ 4449693 w 9061155"/>
              <a:gd name="connsiteY5" fmla="*/ 4538417 h 5191279"/>
              <a:gd name="connsiteX6" fmla="*/ 0 w 9061155"/>
              <a:gd name="connsiteY6" fmla="*/ 4330524 h 5191279"/>
              <a:gd name="connsiteX7" fmla="*/ 1905000 w 9061155"/>
              <a:gd name="connsiteY7" fmla="*/ 1955026 h 5191279"/>
              <a:gd name="connsiteX8" fmla="*/ 1942326 w 9061155"/>
              <a:gd name="connsiteY8" fmla="*/ 0 h 5191279"/>
              <a:gd name="connsiteX0" fmla="*/ 1942326 w 9061155"/>
              <a:gd name="connsiteY0" fmla="*/ 0 h 4551117"/>
              <a:gd name="connsiteX1" fmla="*/ 7118829 w 9061155"/>
              <a:gd name="connsiteY1" fmla="*/ 0 h 4551117"/>
              <a:gd name="connsiteX2" fmla="*/ 9061155 w 9061155"/>
              <a:gd name="connsiteY2" fmla="*/ 1942326 h 4551117"/>
              <a:gd name="connsiteX3" fmla="*/ 9061155 w 9061155"/>
              <a:gd name="connsiteY3" fmla="*/ 4330524 h 4551117"/>
              <a:gd name="connsiteX4" fmla="*/ 8840562 w 9061155"/>
              <a:gd name="connsiteY4" fmla="*/ 4551117 h 4551117"/>
              <a:gd name="connsiteX5" fmla="*/ 4449693 w 9061155"/>
              <a:gd name="connsiteY5" fmla="*/ 4538417 h 4551117"/>
              <a:gd name="connsiteX6" fmla="*/ 0 w 9061155"/>
              <a:gd name="connsiteY6" fmla="*/ 4330524 h 4551117"/>
              <a:gd name="connsiteX7" fmla="*/ 1905000 w 9061155"/>
              <a:gd name="connsiteY7" fmla="*/ 1955026 h 4551117"/>
              <a:gd name="connsiteX8" fmla="*/ 1942326 w 9061155"/>
              <a:gd name="connsiteY8" fmla="*/ 0 h 4551117"/>
              <a:gd name="connsiteX0" fmla="*/ 9669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9669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34815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929640 w 8085795"/>
              <a:gd name="connsiteY7" fmla="*/ 1955026 h 4551117"/>
              <a:gd name="connsiteX8" fmla="*/ 3481566 w 8085795"/>
              <a:gd name="connsiteY8" fmla="*/ 0 h 4551117"/>
              <a:gd name="connsiteX0" fmla="*/ 3481566 w 8085795"/>
              <a:gd name="connsiteY0" fmla="*/ 0 h 4551117"/>
              <a:gd name="connsiteX1" fmla="*/ 6143469 w 8085795"/>
              <a:gd name="connsiteY1" fmla="*/ 0 h 4551117"/>
              <a:gd name="connsiteX2" fmla="*/ 8085795 w 8085795"/>
              <a:gd name="connsiteY2" fmla="*/ 1942326 h 4551117"/>
              <a:gd name="connsiteX3" fmla="*/ 8085795 w 8085795"/>
              <a:gd name="connsiteY3" fmla="*/ 4330524 h 4551117"/>
              <a:gd name="connsiteX4" fmla="*/ 7865202 w 8085795"/>
              <a:gd name="connsiteY4" fmla="*/ 4551117 h 4551117"/>
              <a:gd name="connsiteX5" fmla="*/ 3474333 w 8085795"/>
              <a:gd name="connsiteY5" fmla="*/ 4538417 h 4551117"/>
              <a:gd name="connsiteX6" fmla="*/ 0 w 8085795"/>
              <a:gd name="connsiteY6" fmla="*/ 3888564 h 4551117"/>
              <a:gd name="connsiteX7" fmla="*/ 3481566 w 8085795"/>
              <a:gd name="connsiteY7" fmla="*/ 0 h 4551117"/>
              <a:gd name="connsiteX0" fmla="*/ 451391 w 5055620"/>
              <a:gd name="connsiteY0" fmla="*/ 0 h 4551117"/>
              <a:gd name="connsiteX1" fmla="*/ 3113294 w 5055620"/>
              <a:gd name="connsiteY1" fmla="*/ 0 h 4551117"/>
              <a:gd name="connsiteX2" fmla="*/ 5055620 w 5055620"/>
              <a:gd name="connsiteY2" fmla="*/ 1942326 h 4551117"/>
              <a:gd name="connsiteX3" fmla="*/ 5055620 w 5055620"/>
              <a:gd name="connsiteY3" fmla="*/ 4330524 h 4551117"/>
              <a:gd name="connsiteX4" fmla="*/ 4835027 w 5055620"/>
              <a:gd name="connsiteY4" fmla="*/ 4551117 h 4551117"/>
              <a:gd name="connsiteX5" fmla="*/ 444158 w 5055620"/>
              <a:gd name="connsiteY5" fmla="*/ 4538417 h 4551117"/>
              <a:gd name="connsiteX6" fmla="*/ 451391 w 5055620"/>
              <a:gd name="connsiteY6" fmla="*/ 0 h 4551117"/>
              <a:gd name="connsiteX0" fmla="*/ 330721 w 4934950"/>
              <a:gd name="connsiteY0" fmla="*/ 0 h 4551117"/>
              <a:gd name="connsiteX1" fmla="*/ 2992624 w 4934950"/>
              <a:gd name="connsiteY1" fmla="*/ 0 h 4551117"/>
              <a:gd name="connsiteX2" fmla="*/ 4934950 w 4934950"/>
              <a:gd name="connsiteY2" fmla="*/ 1942326 h 4551117"/>
              <a:gd name="connsiteX3" fmla="*/ 4934950 w 4934950"/>
              <a:gd name="connsiteY3" fmla="*/ 4330524 h 4551117"/>
              <a:gd name="connsiteX4" fmla="*/ 4714357 w 4934950"/>
              <a:gd name="connsiteY4" fmla="*/ 4551117 h 4551117"/>
              <a:gd name="connsiteX5" fmla="*/ 323488 w 4934950"/>
              <a:gd name="connsiteY5" fmla="*/ 4538417 h 4551117"/>
              <a:gd name="connsiteX6" fmla="*/ 330721 w 4934950"/>
              <a:gd name="connsiteY6" fmla="*/ 0 h 4551117"/>
              <a:gd name="connsiteX0" fmla="*/ 7233 w 4611462"/>
              <a:gd name="connsiteY0" fmla="*/ 0 h 4551117"/>
              <a:gd name="connsiteX1" fmla="*/ 2669136 w 4611462"/>
              <a:gd name="connsiteY1" fmla="*/ 0 h 4551117"/>
              <a:gd name="connsiteX2" fmla="*/ 4611462 w 4611462"/>
              <a:gd name="connsiteY2" fmla="*/ 1942326 h 4551117"/>
              <a:gd name="connsiteX3" fmla="*/ 4611462 w 4611462"/>
              <a:gd name="connsiteY3" fmla="*/ 4330524 h 4551117"/>
              <a:gd name="connsiteX4" fmla="*/ 4390869 w 4611462"/>
              <a:gd name="connsiteY4" fmla="*/ 4551117 h 4551117"/>
              <a:gd name="connsiteX5" fmla="*/ 0 w 4611462"/>
              <a:gd name="connsiteY5" fmla="*/ 4538417 h 4551117"/>
              <a:gd name="connsiteX6" fmla="*/ 7233 w 4611462"/>
              <a:gd name="connsiteY6" fmla="*/ 0 h 4551117"/>
              <a:gd name="connsiteX0" fmla="*/ 7233 w 4611462"/>
              <a:gd name="connsiteY0" fmla="*/ 0 h 4551117"/>
              <a:gd name="connsiteX1" fmla="*/ 2669136 w 4611462"/>
              <a:gd name="connsiteY1" fmla="*/ 0 h 4551117"/>
              <a:gd name="connsiteX2" fmla="*/ 4611462 w 4611462"/>
              <a:gd name="connsiteY2" fmla="*/ 1942326 h 4551117"/>
              <a:gd name="connsiteX3" fmla="*/ 4611462 w 4611462"/>
              <a:gd name="connsiteY3" fmla="*/ 4330524 h 4551117"/>
              <a:gd name="connsiteX4" fmla="*/ 4390869 w 4611462"/>
              <a:gd name="connsiteY4" fmla="*/ 4551117 h 4551117"/>
              <a:gd name="connsiteX5" fmla="*/ 0 w 4611462"/>
              <a:gd name="connsiteY5" fmla="*/ 4538417 h 4551117"/>
              <a:gd name="connsiteX6" fmla="*/ 7233 w 4611462"/>
              <a:gd name="connsiteY6" fmla="*/ 0 h 4551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11462" h="4551117">
                <a:moveTo>
                  <a:pt x="7233" y="0"/>
                </a:moveTo>
                <a:lnTo>
                  <a:pt x="2669136" y="0"/>
                </a:lnTo>
                <a:cubicBezTo>
                  <a:pt x="3741853" y="0"/>
                  <a:pt x="4611462" y="869609"/>
                  <a:pt x="4611462" y="1942326"/>
                </a:cubicBezTo>
                <a:lnTo>
                  <a:pt x="4611462" y="4330524"/>
                </a:lnTo>
                <a:cubicBezTo>
                  <a:pt x="4611462" y="4452354"/>
                  <a:pt x="4512699" y="4551117"/>
                  <a:pt x="4390869" y="4551117"/>
                </a:cubicBezTo>
                <a:lnTo>
                  <a:pt x="0" y="4538417"/>
                </a:lnTo>
                <a:cubicBezTo>
                  <a:pt x="8534" y="3642738"/>
                  <a:pt x="4337" y="1106923"/>
                  <a:pt x="7233" y="0"/>
                </a:cubicBezTo>
                <a:close/>
              </a:path>
            </a:pathLst>
          </a:cu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34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an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8">
            <a:extLst>
              <a:ext uri="{FF2B5EF4-FFF2-40B4-BE49-F238E27FC236}">
                <a16:creationId xmlns:a16="http://schemas.microsoft.com/office/drawing/2014/main" id="{CDC988AE-A153-4139-8BF1-831C2BFCA50D}"/>
              </a:ext>
            </a:extLst>
          </p:cNvPr>
          <p:cNvSpPr txBox="1">
            <a:spLocks/>
          </p:cNvSpPr>
          <p:nvPr userDrawn="1"/>
        </p:nvSpPr>
        <p:spPr>
          <a:xfrm>
            <a:off x="11536392" y="6364969"/>
            <a:ext cx="655608" cy="491707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6593E-52CF-5B45-8CFF-7309163A4729}" type="slidenum">
              <a:rPr lang="en-US" sz="1600" smtClean="0">
                <a:solidFill>
                  <a:prstClr val="white"/>
                </a:solidFill>
              </a:rPr>
              <a:pPr/>
              <a:t>‹#›</a:t>
            </a:fld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69DB766-747D-4928-9E02-4F5BC168A8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11" y="761461"/>
            <a:ext cx="9890807" cy="251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7627B42-6398-42C1-94CA-C124AC35B2F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8149" y="1150621"/>
            <a:ext cx="11017991" cy="52143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="1"/>
            </a:lvl1pPr>
          </a:lstStyle>
          <a:p>
            <a:r>
              <a:rPr lang="en-GB" dirty="0"/>
              <a:t>INSERT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A7B25A5-6B91-4CE2-93B8-754812DA02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544317"/>
            <a:ext cx="1680000" cy="21207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3958631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me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8">
            <a:extLst>
              <a:ext uri="{FF2B5EF4-FFF2-40B4-BE49-F238E27FC236}">
                <a16:creationId xmlns:a16="http://schemas.microsoft.com/office/drawing/2014/main" id="{CDC988AE-A153-4139-8BF1-831C2BFCA50D}"/>
              </a:ext>
            </a:extLst>
          </p:cNvPr>
          <p:cNvSpPr txBox="1">
            <a:spLocks/>
          </p:cNvSpPr>
          <p:nvPr userDrawn="1"/>
        </p:nvSpPr>
        <p:spPr>
          <a:xfrm>
            <a:off x="11536392" y="6364969"/>
            <a:ext cx="655608" cy="491707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6593E-52CF-5B45-8CFF-7309163A4729}" type="slidenum">
              <a:rPr lang="en-US" sz="1600" smtClean="0">
                <a:solidFill>
                  <a:prstClr val="white"/>
                </a:solidFill>
              </a:rPr>
              <a:pPr/>
              <a:t>‹#›</a:t>
            </a:fld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69DB766-747D-4928-9E02-4F5BC168A8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11" y="761461"/>
            <a:ext cx="9890807" cy="251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7627B42-6398-42C1-94CA-C124AC35B2F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25520" y="1150621"/>
            <a:ext cx="8010605" cy="52143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="1"/>
            </a:lvl1pPr>
          </a:lstStyle>
          <a:p>
            <a:r>
              <a:rPr lang="en-GB" dirty="0"/>
              <a:t>INSERT IMAG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98B7640-2FBE-4B1B-93BB-80CDDCC614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414" y="1150621"/>
            <a:ext cx="2763279" cy="5214347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>
              <a:buNone/>
              <a:defRPr sz="1600" b="0"/>
            </a:lvl1pPr>
            <a:lvl2pPr marL="609585" indent="0">
              <a:buNone/>
              <a:defRPr sz="1600" b="0"/>
            </a:lvl2pPr>
            <a:lvl3pPr marL="1219170" indent="0">
              <a:buNone/>
              <a:defRPr sz="1600" b="0"/>
            </a:lvl3pPr>
            <a:lvl4pPr marL="1828754" indent="0">
              <a:buNone/>
              <a:defRPr sz="1600" b="0"/>
            </a:lvl4pPr>
            <a:lvl5pPr marL="2438339" indent="0">
              <a:buNone/>
              <a:defRPr sz="1600" b="0"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aphs and graphics can be positioned over the grey box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7EECFAC-7182-49C4-A276-219F1E7C7B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544317"/>
            <a:ext cx="1680000" cy="21207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04787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8">
            <a:extLst>
              <a:ext uri="{FF2B5EF4-FFF2-40B4-BE49-F238E27FC236}">
                <a16:creationId xmlns:a16="http://schemas.microsoft.com/office/drawing/2014/main" id="{CDC988AE-A153-4139-8BF1-831C2BFCA50D}"/>
              </a:ext>
            </a:extLst>
          </p:cNvPr>
          <p:cNvSpPr txBox="1">
            <a:spLocks/>
          </p:cNvSpPr>
          <p:nvPr userDrawn="1"/>
        </p:nvSpPr>
        <p:spPr>
          <a:xfrm>
            <a:off x="11536392" y="6364969"/>
            <a:ext cx="655608" cy="491707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6593E-52CF-5B45-8CFF-7309163A4729}" type="slidenum">
              <a:rPr lang="en-US" sz="1600" smtClean="0">
                <a:solidFill>
                  <a:prstClr val="white"/>
                </a:solidFill>
              </a:rPr>
              <a:pPr/>
              <a:t>‹#›</a:t>
            </a:fld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69DB766-747D-4928-9E02-4F5BC168A8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11" y="761461"/>
            <a:ext cx="9890807" cy="251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7627B42-6398-42C1-94CA-C124AC35B2F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3120" y="1150621"/>
            <a:ext cx="5623005" cy="52143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="1"/>
            </a:lvl1pPr>
          </a:lstStyle>
          <a:p>
            <a:r>
              <a:rPr lang="en-GB" dirty="0"/>
              <a:t>INSERT IMAG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98B7640-2FBE-4B1B-93BB-80CDDCC614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402" y="1150621"/>
            <a:ext cx="5140719" cy="5214347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>
              <a:buNone/>
              <a:defRPr sz="1600" b="0"/>
            </a:lvl1pPr>
            <a:lvl2pPr marL="609585" indent="0">
              <a:buNone/>
              <a:defRPr sz="1600" b="0"/>
            </a:lvl2pPr>
            <a:lvl3pPr marL="1219170" indent="0">
              <a:buNone/>
              <a:defRPr sz="1600" b="0"/>
            </a:lvl3pPr>
            <a:lvl4pPr marL="1828754" indent="0">
              <a:buNone/>
              <a:defRPr sz="1600" b="0"/>
            </a:lvl4pPr>
            <a:lvl5pPr marL="2438339" indent="0">
              <a:buNone/>
              <a:defRPr sz="1600" b="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866B34-8A6C-492A-96F1-5F307C6EA65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544317"/>
            <a:ext cx="1680000" cy="21207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395229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8">
            <a:extLst>
              <a:ext uri="{FF2B5EF4-FFF2-40B4-BE49-F238E27FC236}">
                <a16:creationId xmlns:a16="http://schemas.microsoft.com/office/drawing/2014/main" id="{CDC988AE-A153-4139-8BF1-831C2BFCA50D}"/>
              </a:ext>
            </a:extLst>
          </p:cNvPr>
          <p:cNvSpPr txBox="1">
            <a:spLocks/>
          </p:cNvSpPr>
          <p:nvPr userDrawn="1"/>
        </p:nvSpPr>
        <p:spPr>
          <a:xfrm>
            <a:off x="11536392" y="6364969"/>
            <a:ext cx="655608" cy="491707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6593E-52CF-5B45-8CFF-7309163A4729}" type="slidenum">
              <a:rPr lang="en-US" sz="1600" smtClean="0">
                <a:solidFill>
                  <a:prstClr val="white"/>
                </a:solidFill>
              </a:rPr>
              <a:pPr/>
              <a:t>‹#›</a:t>
            </a:fld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69DB766-747D-4928-9E02-4F5BC168A8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11" y="761461"/>
            <a:ext cx="9890807" cy="251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7627B42-6398-42C1-94CA-C124AC35B2F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3120" y="1150621"/>
            <a:ext cx="5623005" cy="52143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="1"/>
            </a:lvl1pPr>
          </a:lstStyle>
          <a:p>
            <a:r>
              <a:rPr lang="en-GB" dirty="0"/>
              <a:t>INSERT IMAG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98B7640-2FBE-4B1B-93BB-80CDDCC614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402" y="1150638"/>
            <a:ext cx="5140719" cy="2486367"/>
          </a:xfrm>
          <a:prstGeom prst="rect">
            <a:avLst/>
          </a:prstGeom>
        </p:spPr>
        <p:txBody>
          <a:bodyPr lIns="36000" tIns="36000" rIns="36000" bIns="36000" numCol="2"/>
          <a:lstStyle>
            <a:lvl1pPr marL="0" indent="0">
              <a:buNone/>
              <a:defRPr sz="1600" b="0"/>
            </a:lvl1pPr>
            <a:lvl2pPr marL="609585" indent="0">
              <a:buNone/>
              <a:defRPr sz="1600" b="0"/>
            </a:lvl2pPr>
            <a:lvl3pPr marL="1219170" indent="0">
              <a:buNone/>
              <a:defRPr sz="1600" b="0"/>
            </a:lvl3pPr>
            <a:lvl4pPr marL="1828754" indent="0">
              <a:buNone/>
              <a:defRPr sz="1600" b="0"/>
            </a:lvl4pPr>
            <a:lvl5pPr marL="2438339" indent="0">
              <a:buNone/>
              <a:defRPr sz="1600" b="0"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harts, graphs and graphics can be positioned over the grey box.</a:t>
            </a:r>
            <a:br>
              <a:rPr lang="en-US" dirty="0"/>
            </a:b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br>
              <a:rPr lang="en-US" dirty="0"/>
            </a:br>
            <a:endParaRPr lang="en-US" dirty="0"/>
          </a:p>
          <a:p>
            <a:pPr lvl="0"/>
            <a:r>
              <a:rPr lang="en-US" dirty="0"/>
              <a:t>Body tex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870E1B6-0ECF-4B89-8FAB-09D00538EB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402" y="3873258"/>
            <a:ext cx="5140719" cy="2486367"/>
          </a:xfrm>
          <a:prstGeom prst="rect">
            <a:avLst/>
          </a:prstGeom>
        </p:spPr>
        <p:txBody>
          <a:bodyPr lIns="36000" tIns="36000" rIns="36000" bIns="36000"/>
          <a:lstStyle>
            <a:lvl1pPr marL="228594" indent="-228594">
              <a:buClr>
                <a:schemeClr val="accent4"/>
              </a:buClr>
              <a:buFont typeface="Arial" panose="020B0604020202020204" pitchFamily="34" charset="0"/>
              <a:buChar char="•"/>
              <a:defRPr sz="1600" b="0"/>
            </a:lvl1pPr>
            <a:lvl2pPr marL="609585" indent="0">
              <a:buNone/>
              <a:defRPr sz="1600" b="0"/>
            </a:lvl2pPr>
            <a:lvl3pPr marL="1219170" indent="0">
              <a:buNone/>
              <a:defRPr sz="1600" b="0"/>
            </a:lvl3pPr>
            <a:lvl4pPr marL="1828754" indent="0">
              <a:buNone/>
              <a:defRPr sz="1600" b="0"/>
            </a:lvl4pPr>
            <a:lvl5pPr marL="2438339" indent="0">
              <a:buNone/>
              <a:defRPr sz="1600" b="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5259958-3FB9-4566-8AB7-D98E4FCD49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544317"/>
            <a:ext cx="1680000" cy="21207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3799075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8">
            <a:extLst>
              <a:ext uri="{FF2B5EF4-FFF2-40B4-BE49-F238E27FC236}">
                <a16:creationId xmlns:a16="http://schemas.microsoft.com/office/drawing/2014/main" id="{CDC988AE-A153-4139-8BF1-831C2BFCA50D}"/>
              </a:ext>
            </a:extLst>
          </p:cNvPr>
          <p:cNvSpPr txBox="1">
            <a:spLocks/>
          </p:cNvSpPr>
          <p:nvPr userDrawn="1"/>
        </p:nvSpPr>
        <p:spPr>
          <a:xfrm>
            <a:off x="11536392" y="6364969"/>
            <a:ext cx="655608" cy="491707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6593E-52CF-5B45-8CFF-7309163A4729}" type="slidenum">
              <a:rPr lang="en-US" sz="1600" smtClean="0">
                <a:solidFill>
                  <a:prstClr val="white"/>
                </a:solidFill>
              </a:rPr>
              <a:pPr/>
              <a:t>‹#›</a:t>
            </a:fld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69DB766-747D-4928-9E02-4F5BC168A8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11" y="761461"/>
            <a:ext cx="9890807" cy="251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98B7640-2FBE-4B1B-93BB-80CDDCC614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407" y="1150619"/>
            <a:ext cx="3403359" cy="5214348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>
              <a:buNone/>
              <a:defRPr sz="1600" b="0"/>
            </a:lvl1pPr>
            <a:lvl2pPr marL="609585" indent="0">
              <a:buNone/>
              <a:defRPr sz="1600" b="0"/>
            </a:lvl2pPr>
            <a:lvl3pPr marL="1219170" indent="0">
              <a:buNone/>
              <a:defRPr sz="1600" b="0"/>
            </a:lvl3pPr>
            <a:lvl4pPr marL="1828754" indent="0">
              <a:buNone/>
              <a:defRPr sz="1600" b="0"/>
            </a:lvl4pPr>
            <a:lvl5pPr marL="2438339" indent="0">
              <a:buNone/>
              <a:defRPr sz="1600" b="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E768777-3248-42B2-85F9-58D5B20C6E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14743" y="1150619"/>
            <a:ext cx="3403359" cy="5214348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>
              <a:buNone/>
              <a:defRPr sz="1600" b="0"/>
            </a:lvl1pPr>
            <a:lvl2pPr marL="609585" indent="0">
              <a:buNone/>
              <a:defRPr sz="1600" b="0"/>
            </a:lvl2pPr>
            <a:lvl3pPr marL="1219170" indent="0">
              <a:buNone/>
              <a:defRPr sz="1600" b="0"/>
            </a:lvl3pPr>
            <a:lvl4pPr marL="1828754" indent="0">
              <a:buNone/>
              <a:defRPr sz="1600" b="0"/>
            </a:lvl4pPr>
            <a:lvl5pPr marL="2438339" indent="0">
              <a:buNone/>
              <a:defRPr sz="1600" b="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7E46CCE-0535-4E3E-9668-C3EC281E6A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11027" y="1150615"/>
            <a:ext cx="3825380" cy="5214348"/>
          </a:xfrm>
          <a:prstGeom prst="rect">
            <a:avLst/>
          </a:prstGeom>
        </p:spPr>
        <p:txBody>
          <a:bodyPr lIns="36000" tIns="36000" rIns="36000" bIns="36000"/>
          <a:lstStyle>
            <a:lvl1pPr marL="228594" indent="-228594">
              <a:buClr>
                <a:schemeClr val="accent4"/>
              </a:buClr>
              <a:buFont typeface="Arial" panose="020B0604020202020204" pitchFamily="34" charset="0"/>
              <a:buChar char="•"/>
              <a:defRPr sz="1600" b="0"/>
            </a:lvl1pPr>
            <a:lvl2pPr marL="609585" indent="0">
              <a:buNone/>
              <a:defRPr sz="1600" b="0"/>
            </a:lvl2pPr>
            <a:lvl3pPr marL="1219170" indent="0">
              <a:buNone/>
              <a:defRPr sz="1600" b="0"/>
            </a:lvl3pPr>
            <a:lvl4pPr marL="1828754" indent="0">
              <a:buNone/>
              <a:defRPr sz="1600" b="0"/>
            </a:lvl4pPr>
            <a:lvl5pPr marL="2438339" indent="0">
              <a:buNone/>
              <a:defRPr sz="1600" b="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9316F6E-405A-4A01-9184-79CC1058A9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544317"/>
            <a:ext cx="1680000" cy="21207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9247181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row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8">
            <a:extLst>
              <a:ext uri="{FF2B5EF4-FFF2-40B4-BE49-F238E27FC236}">
                <a16:creationId xmlns:a16="http://schemas.microsoft.com/office/drawing/2014/main" id="{CDC988AE-A153-4139-8BF1-831C2BFCA50D}"/>
              </a:ext>
            </a:extLst>
          </p:cNvPr>
          <p:cNvSpPr txBox="1">
            <a:spLocks/>
          </p:cNvSpPr>
          <p:nvPr userDrawn="1"/>
        </p:nvSpPr>
        <p:spPr>
          <a:xfrm>
            <a:off x="11536392" y="6364969"/>
            <a:ext cx="655608" cy="491707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06593E-52CF-5B45-8CFF-7309163A4729}" type="slidenum">
              <a:rPr lang="en-US" sz="1600" smtClean="0">
                <a:solidFill>
                  <a:prstClr val="white"/>
                </a:solidFill>
              </a:rPr>
              <a:pPr/>
              <a:t>‹#›</a:t>
            </a:fld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69DB766-747D-4928-9E02-4F5BC168A8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411" y="761461"/>
            <a:ext cx="9890807" cy="251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98B7640-2FBE-4B1B-93BB-80CDDCC614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413" y="1150620"/>
            <a:ext cx="11017991" cy="2278381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>
              <a:buNone/>
              <a:defRPr sz="1600" b="0"/>
            </a:lvl1pPr>
            <a:lvl2pPr marL="609585" indent="0">
              <a:buNone/>
              <a:defRPr sz="1600" b="0"/>
            </a:lvl2pPr>
            <a:lvl3pPr marL="1219170" indent="0">
              <a:buNone/>
              <a:defRPr sz="1600" b="0"/>
            </a:lvl3pPr>
            <a:lvl4pPr marL="1828754" indent="0">
              <a:buNone/>
              <a:defRPr sz="1600" b="0"/>
            </a:lvl4pPr>
            <a:lvl5pPr marL="2438339" indent="0">
              <a:buNone/>
              <a:defRPr sz="1600" b="0"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harts, graphs and graphics can be positioned over the grey box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/>
              <a:t>Body text</a:t>
            </a:r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7E46CCE-0535-4E3E-9668-C3EC281E6A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413" y="3566179"/>
            <a:ext cx="11017991" cy="2798784"/>
          </a:xfrm>
          <a:prstGeom prst="rect">
            <a:avLst/>
          </a:prstGeom>
        </p:spPr>
        <p:txBody>
          <a:bodyPr lIns="36000" tIns="36000" rIns="36000" bIns="36000"/>
          <a:lstStyle>
            <a:lvl1pPr marL="228594" indent="-228594">
              <a:buClr>
                <a:schemeClr val="accent4"/>
              </a:buClr>
              <a:buFont typeface="Arial" panose="020B0604020202020204" pitchFamily="34" charset="0"/>
              <a:buChar char="•"/>
              <a:defRPr sz="1600" b="0"/>
            </a:lvl1pPr>
            <a:lvl2pPr marL="609585" indent="0">
              <a:buNone/>
              <a:defRPr sz="1600" b="0"/>
            </a:lvl2pPr>
            <a:lvl3pPr marL="1219170" indent="0">
              <a:buNone/>
              <a:defRPr sz="1600" b="0"/>
            </a:lvl3pPr>
            <a:lvl4pPr marL="1828754" indent="0">
              <a:buNone/>
              <a:defRPr sz="1600" b="0"/>
            </a:lvl4pPr>
            <a:lvl5pPr marL="2438339" indent="0">
              <a:buNone/>
              <a:defRPr sz="1600" b="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65438FC-7DE5-43FA-96AA-BA01B74D04B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" y="544317"/>
            <a:ext cx="1680000" cy="212075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921767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286619" y="505730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86613" y="1051397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6006613" y="105139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6006613" y="1410244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286613" y="1985406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6006613" y="198540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9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6006613" y="234425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286613" y="2919415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41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6006613" y="2919412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2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006613" y="327826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6613" y="3853422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44" name="Text Placeholder 31"/>
          <p:cNvSpPr>
            <a:spLocks noGrp="1"/>
          </p:cNvSpPr>
          <p:nvPr>
            <p:ph type="body" sz="quarter" idx="21" hasCustomPrompt="1"/>
          </p:nvPr>
        </p:nvSpPr>
        <p:spPr>
          <a:xfrm>
            <a:off x="6006613" y="385342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5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6006613" y="4212272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5286613" y="4787433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5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6006613" y="478743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8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6006613" y="514628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286613" y="5721443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6</a:t>
            </a:r>
          </a:p>
        </p:txBody>
      </p:sp>
      <p:sp>
        <p:nvSpPr>
          <p:cNvPr id="50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6006613" y="5721440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1" name="Text Placeholder 31"/>
          <p:cNvSpPr>
            <a:spLocks noGrp="1"/>
          </p:cNvSpPr>
          <p:nvPr>
            <p:ph type="body" sz="quarter" idx="28" hasCustomPrompt="1"/>
          </p:nvPr>
        </p:nvSpPr>
        <p:spPr>
          <a:xfrm>
            <a:off x="6006613" y="608029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800000" cy="6858000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0363469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518401" y="535839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 numCol="2" spcCol="360000"/>
          <a:lstStyle>
            <a:lvl1pPr marL="0" indent="0" algn="l" defTabSz="383981">
              <a:lnSpc>
                <a:spcPts val="2133"/>
              </a:lnSpc>
              <a:buNone/>
              <a:defRPr sz="1600" b="1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00	Insert contents listing (2 columns)</a:t>
            </a:r>
          </a:p>
        </p:txBody>
      </p:sp>
    </p:spTree>
    <p:extLst>
      <p:ext uri="{BB962C8B-B14F-4D97-AF65-F5344CB8AC3E}">
        <p14:creationId xmlns:p14="http://schemas.microsoft.com/office/powerpoint/2010/main" val="15924452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609570" indent="0">
              <a:buNone/>
              <a:defRPr sz="1600"/>
            </a:lvl2pPr>
            <a:lvl3pPr marL="1219139" indent="0">
              <a:buNone/>
              <a:defRPr sz="1600"/>
            </a:lvl3pPr>
            <a:lvl4pPr marL="1828709" indent="0">
              <a:buNone/>
              <a:defRPr sz="1600"/>
            </a:lvl4pPr>
            <a:lvl5pPr marL="2438278" indent="0">
              <a:buNone/>
              <a:defRPr sz="160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567638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76000" y="1440000"/>
            <a:ext cx="1113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6834556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22950F0-F837-3643-8F3C-58187D933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FD82CE-01EC-B1CB-A6FD-FB39AAE27B82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69D1CE6-1539-C9FF-428F-50E945C8CF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1759363"/>
            <a:ext cx="3691545" cy="31731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name: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6F70F55-5634-E0E4-19BE-00F2336FEF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s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672EBB80-A06E-419B-5D88-C52E35F084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591" y="1759363"/>
            <a:ext cx="572718" cy="31731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1" i="0">
                <a:ln>
                  <a:noFill/>
                </a:ln>
                <a:solidFill>
                  <a:srgbClr val="1C46C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BE89543-A931-7E7D-70F4-0895930BED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1759363"/>
            <a:ext cx="3691545" cy="31731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name: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B202B306-D134-FDA1-EFFA-1473A26ED44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85486" y="1759363"/>
            <a:ext cx="572718" cy="31731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1" i="0">
                <a:ln>
                  <a:noFill/>
                </a:ln>
                <a:solidFill>
                  <a:srgbClr val="1C46C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9</a:t>
            </a:r>
          </a:p>
        </p:txBody>
      </p:sp>
      <p:pic>
        <p:nvPicPr>
          <p:cNvPr id="7" name="Picture 6" descr="The Open University Logo">
            <a:extLst>
              <a:ext uri="{FF2B5EF4-FFF2-40B4-BE49-F238E27FC236}">
                <a16:creationId xmlns:a16="http://schemas.microsoft.com/office/drawing/2014/main" id="{E4D12D21-2F9E-2846-20E0-F0307CE0821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036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m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2400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aphs and graphics can be positioned over the grey box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456001" y="1440483"/>
            <a:ext cx="825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433713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2" y="1440000"/>
            <a:ext cx="4527551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568000" y="1440000"/>
            <a:ext cx="6144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2731308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2" y="4182563"/>
            <a:ext cx="4527551" cy="2195437"/>
          </a:xfrm>
          <a:prstGeom prst="rect">
            <a:avLst/>
          </a:prstGeom>
        </p:spPr>
        <p:txBody>
          <a:bodyPr lIns="0" tIns="0" rIns="0" bIns="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582403" y="1440483"/>
            <a:ext cx="6129599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2" y="1440000"/>
            <a:ext cx="4527551" cy="2454560"/>
          </a:xfrm>
          <a:prstGeom prst="rect">
            <a:avLst/>
          </a:prstGeom>
        </p:spPr>
        <p:txBody>
          <a:bodyPr lIns="0" tIns="0" rIns="0" bIns="0" numCol="2" spcCol="288000"/>
          <a:lstStyle>
            <a:lvl1pPr marL="0" indent="0" algn="l">
              <a:buNone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harts, graphs and graphics can be positioned over the grey box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Body text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8225599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840000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104003" y="1440000"/>
            <a:ext cx="4607999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7120020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03"/>
            <a:ext cx="11136000" cy="2226767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3954771"/>
            <a:ext cx="11136000" cy="2423231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7086566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286619" y="505730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86613" y="1051397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6006613" y="105139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6006613" y="1410244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286613" y="1985406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6006613" y="198540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9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6006613" y="234425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286613" y="2919415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41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6006613" y="2919412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2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006613" y="327826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6613" y="3853422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44" name="Text Placeholder 31"/>
          <p:cNvSpPr>
            <a:spLocks noGrp="1"/>
          </p:cNvSpPr>
          <p:nvPr>
            <p:ph type="body" sz="quarter" idx="21" hasCustomPrompt="1"/>
          </p:nvPr>
        </p:nvSpPr>
        <p:spPr>
          <a:xfrm>
            <a:off x="6006613" y="385342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5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6006613" y="4212272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5286613" y="4787433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5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6006613" y="478743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8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6006613" y="514628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286613" y="5721443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6</a:t>
            </a:r>
          </a:p>
        </p:txBody>
      </p:sp>
      <p:sp>
        <p:nvSpPr>
          <p:cNvPr id="50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6006613" y="5721440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1" name="Text Placeholder 31"/>
          <p:cNvSpPr>
            <a:spLocks noGrp="1"/>
          </p:cNvSpPr>
          <p:nvPr>
            <p:ph type="body" sz="quarter" idx="28" hasCustomPrompt="1"/>
          </p:nvPr>
        </p:nvSpPr>
        <p:spPr>
          <a:xfrm>
            <a:off x="6006613" y="608029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800000" cy="6858000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3574694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518401" y="535839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 numCol="2" spcCol="360000"/>
          <a:lstStyle>
            <a:lvl1pPr marL="0" indent="0" algn="l" defTabSz="383981">
              <a:lnSpc>
                <a:spcPts val="2133"/>
              </a:lnSpc>
              <a:buNone/>
              <a:defRPr sz="1600" b="1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00	Insert contents listing (2 columns)</a:t>
            </a:r>
          </a:p>
        </p:txBody>
      </p:sp>
    </p:spTree>
    <p:extLst>
      <p:ext uri="{BB962C8B-B14F-4D97-AF65-F5344CB8AC3E}">
        <p14:creationId xmlns:p14="http://schemas.microsoft.com/office/powerpoint/2010/main" val="812820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609570" indent="0">
              <a:buNone/>
              <a:defRPr sz="1600"/>
            </a:lvl2pPr>
            <a:lvl3pPr marL="1219139" indent="0">
              <a:buNone/>
              <a:defRPr sz="1600"/>
            </a:lvl3pPr>
            <a:lvl4pPr marL="1828709" indent="0">
              <a:buNone/>
              <a:defRPr sz="1600"/>
            </a:lvl4pPr>
            <a:lvl5pPr marL="2438278" indent="0">
              <a:buNone/>
              <a:defRPr sz="160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6311766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76000" y="1440000"/>
            <a:ext cx="1113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4256965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m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2400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aphs and graphics can be positioned over the grey box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456001" y="1440483"/>
            <a:ext cx="825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5996589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15272609" cy="509777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C3DB8-28FE-CD4A-AC01-87EE1020C5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97770"/>
            <a:ext cx="10492353" cy="1760230"/>
          </a:xfrm>
          <a:prstGeom prst="rect">
            <a:avLst/>
          </a:prstGeom>
        </p:spPr>
      </p:pic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3F6853B-E929-F241-91D8-856D67E458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E390F52-05CD-A068-38A6-49F5DCC4B2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7792215-3EBF-8AFE-D64C-230EB77D34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4032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2" y="1440000"/>
            <a:ext cx="4527551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568000" y="1440000"/>
            <a:ext cx="6144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9028614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2" y="4182563"/>
            <a:ext cx="4527551" cy="2195437"/>
          </a:xfrm>
          <a:prstGeom prst="rect">
            <a:avLst/>
          </a:prstGeom>
        </p:spPr>
        <p:txBody>
          <a:bodyPr lIns="0" tIns="0" rIns="0" bIns="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582403" y="1440483"/>
            <a:ext cx="6129599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76002" y="1440000"/>
            <a:ext cx="4527551" cy="2454560"/>
          </a:xfrm>
          <a:prstGeom prst="rect">
            <a:avLst/>
          </a:prstGeom>
        </p:spPr>
        <p:txBody>
          <a:bodyPr lIns="0" tIns="0" rIns="0" bIns="0" numCol="2" spcCol="288000"/>
          <a:lstStyle>
            <a:lvl1pPr marL="0" indent="0" algn="l">
              <a:buNone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harts, graphs and graphics can be positioned over the grey box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Body text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965325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840000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104003" y="1440000"/>
            <a:ext cx="4607999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9207189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03"/>
            <a:ext cx="11136000" cy="2226767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3954771"/>
            <a:ext cx="11136000" cy="2423231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35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03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6159950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DC8764-ED60-0DDA-C3E9-E24CDFF3D2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CDE16F-3F46-FAC4-7BF3-A98FE863E9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072EFD-2663-243C-43DE-3CB9A3D0EF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3251D-1C94-40D1-B900-399A594C0F66}" type="datetimeFigureOut">
              <a:rPr lang="en-GB" smtClean="0"/>
              <a:t>15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E1F6F4-50B4-0BA0-2CBC-F64FBA4812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2D51D8-A5E2-5600-AC95-5AA4FA0D0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31E31-A494-4DA8-B33A-859E4D71BA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60712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286665" y="505765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86613" y="1051419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6006613" y="105139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6006613" y="1410244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286613" y="1985429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2</a:t>
            </a:r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6006613" y="1985405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9" name="Text Placeholder 31"/>
          <p:cNvSpPr>
            <a:spLocks noGrp="1"/>
          </p:cNvSpPr>
          <p:nvPr>
            <p:ph type="body" sz="quarter" idx="16" hasCustomPrompt="1"/>
          </p:nvPr>
        </p:nvSpPr>
        <p:spPr>
          <a:xfrm>
            <a:off x="6006613" y="234425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286613" y="2919438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3</a:t>
            </a:r>
          </a:p>
        </p:txBody>
      </p:sp>
      <p:sp>
        <p:nvSpPr>
          <p:cNvPr id="41" name="Text Placeholder 31"/>
          <p:cNvSpPr>
            <a:spLocks noGrp="1"/>
          </p:cNvSpPr>
          <p:nvPr>
            <p:ph type="body" sz="quarter" idx="18" hasCustomPrompt="1"/>
          </p:nvPr>
        </p:nvSpPr>
        <p:spPr>
          <a:xfrm>
            <a:off x="6006613" y="291941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2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006613" y="3278263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3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6613" y="3853444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4</a:t>
            </a:r>
          </a:p>
        </p:txBody>
      </p:sp>
      <p:sp>
        <p:nvSpPr>
          <p:cNvPr id="44" name="Text Placeholder 31"/>
          <p:cNvSpPr>
            <a:spLocks noGrp="1"/>
          </p:cNvSpPr>
          <p:nvPr>
            <p:ph type="body" sz="quarter" idx="21" hasCustomPrompt="1"/>
          </p:nvPr>
        </p:nvSpPr>
        <p:spPr>
          <a:xfrm>
            <a:off x="6006613" y="385342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5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6006613" y="4212272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5286613" y="4787455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5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24" hasCustomPrompt="1"/>
          </p:nvPr>
        </p:nvSpPr>
        <p:spPr>
          <a:xfrm>
            <a:off x="6006613" y="4787433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8" name="Text Placeholder 31"/>
          <p:cNvSpPr>
            <a:spLocks noGrp="1"/>
          </p:cNvSpPr>
          <p:nvPr>
            <p:ph type="body" sz="quarter" idx="25" hasCustomPrompt="1"/>
          </p:nvPr>
        </p:nvSpPr>
        <p:spPr>
          <a:xfrm>
            <a:off x="6006613" y="514628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286613" y="5721466"/>
            <a:ext cx="720000" cy="671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800" b="1">
                <a:solidFill>
                  <a:schemeClr val="accent1"/>
                </a:solidFill>
              </a:defRPr>
            </a:lvl1pPr>
          </a:lstStyle>
          <a:p>
            <a:r>
              <a:rPr lang="en-US" sz="4800" dirty="0">
                <a:solidFill>
                  <a:schemeClr val="accent1"/>
                </a:solidFill>
              </a:rPr>
              <a:t>06</a:t>
            </a:r>
          </a:p>
        </p:txBody>
      </p:sp>
      <p:sp>
        <p:nvSpPr>
          <p:cNvPr id="50" name="Text Placeholder 31"/>
          <p:cNvSpPr>
            <a:spLocks noGrp="1"/>
          </p:cNvSpPr>
          <p:nvPr>
            <p:ph type="body" sz="quarter" idx="27" hasCustomPrompt="1"/>
          </p:nvPr>
        </p:nvSpPr>
        <p:spPr>
          <a:xfrm>
            <a:off x="6006613" y="5721441"/>
            <a:ext cx="4800000" cy="3492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1" name="Text Placeholder 31"/>
          <p:cNvSpPr>
            <a:spLocks noGrp="1"/>
          </p:cNvSpPr>
          <p:nvPr>
            <p:ph type="body" sz="quarter" idx="28" hasCustomPrompt="1"/>
          </p:nvPr>
        </p:nvSpPr>
        <p:spPr>
          <a:xfrm>
            <a:off x="6006613" y="6080291"/>
            <a:ext cx="4800000" cy="480000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333" b="0"/>
            </a:lvl1pPr>
            <a:lvl2pPr marL="609570" indent="0">
              <a:buNone/>
              <a:defRPr sz="1600" b="1"/>
            </a:lvl2pPr>
            <a:lvl3pPr marL="1219139" indent="0">
              <a:buNone/>
              <a:defRPr sz="1600" b="1"/>
            </a:lvl3pPr>
            <a:lvl4pPr marL="1828709" indent="0">
              <a:buNone/>
              <a:defRPr sz="1600" b="1"/>
            </a:lvl4pPr>
            <a:lvl5pPr marL="2438278" indent="0">
              <a:buNone/>
              <a:defRPr sz="1600" b="1"/>
            </a:lvl5pPr>
          </a:lstStyle>
          <a:p>
            <a:pPr lvl="0"/>
            <a:r>
              <a:rPr lang="en-US" dirty="0"/>
              <a:t>A brief line about content</a:t>
            </a:r>
          </a:p>
        </p:txBody>
      </p:sp>
      <p:sp>
        <p:nvSpPr>
          <p:cNvPr id="23" name="Picture Placeholder 12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800000" cy="6858000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172173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518413" y="535873"/>
            <a:ext cx="1356583" cy="277127"/>
          </a:xfrm>
          <a:prstGeom prst="rect">
            <a:avLst/>
          </a:prstGeom>
          <a:solidFill>
            <a:schemeClr val="accent1"/>
          </a:solidFill>
        </p:spPr>
        <p:txBody>
          <a:bodyPr wrap="square" lIns="48000" tIns="0" rIns="0" bIns="0" rtlCol="0" anchor="ctr" anchorCtr="0">
            <a:spAutoFit/>
          </a:bodyPr>
          <a:lstStyle/>
          <a:p>
            <a:r>
              <a:rPr lang="en-US" sz="1801" b="1">
                <a:solidFill>
                  <a:schemeClr val="bg1"/>
                </a:solidFill>
              </a:rPr>
              <a:t>CONTENT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 numCol="2" spcCol="360000"/>
          <a:lstStyle>
            <a:lvl1pPr marL="0" indent="0" algn="l" defTabSz="383981">
              <a:lnSpc>
                <a:spcPts val="2133"/>
              </a:lnSpc>
              <a:buNone/>
              <a:defRPr sz="1600" b="1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00	Insert contents listing (2 columns)</a:t>
            </a:r>
          </a:p>
        </p:txBody>
      </p:sp>
    </p:spTree>
    <p:extLst>
      <p:ext uri="{BB962C8B-B14F-4D97-AF65-F5344CB8AC3E}">
        <p14:creationId xmlns:p14="http://schemas.microsoft.com/office/powerpoint/2010/main" val="66549990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440000"/>
            <a:ext cx="11136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  <a:lvl2pPr marL="609570" indent="0">
              <a:buNone/>
              <a:defRPr sz="1600"/>
            </a:lvl2pPr>
            <a:lvl3pPr marL="1219139" indent="0">
              <a:buNone/>
              <a:defRPr sz="1600"/>
            </a:lvl3pPr>
            <a:lvl4pPr marL="1828709" indent="0">
              <a:buNone/>
              <a:defRPr sz="1600"/>
            </a:lvl4pPr>
            <a:lvl5pPr marL="2438278" indent="0">
              <a:buNone/>
              <a:defRPr sz="1600"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47104880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jus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76000" y="1440000"/>
            <a:ext cx="1113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41384716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m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00" y="1440000"/>
            <a:ext cx="2400000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Graphs and graphics can be positioned over the grey box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456001" y="1440484"/>
            <a:ext cx="8256000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3655533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6001" cy="509777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4E638D-6AD4-9B4C-B7A9-1F0500BFE0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8" y="5097770"/>
            <a:ext cx="4417181" cy="1760230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58BB04F-25F0-024C-BD47-209C74A31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E36C6B16-6B0D-9EC9-CB32-E93F0F2560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099C368-7E26-527C-B143-BDB1D5B48D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18873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13" y="1440000"/>
            <a:ext cx="4527551" cy="493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 hasCustomPrompt="1"/>
          </p:nvPr>
        </p:nvSpPr>
        <p:spPr>
          <a:xfrm>
            <a:off x="5568000" y="1440000"/>
            <a:ext cx="6144000" cy="4937517"/>
          </a:xfrm>
          <a:prstGeom prst="rect">
            <a:avLst/>
          </a:prstGeom>
          <a:solidFill>
            <a:schemeClr val="bg2">
              <a:alpha val="30000"/>
            </a:schemeClr>
          </a:solidFill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600" b="1" baseline="0"/>
            </a:lvl1pPr>
          </a:lstStyle>
          <a:p>
            <a:pPr marL="304784" marR="0" lvl="0" indent="-304784" algn="l" defTabSz="121913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INSERT IMAG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06846611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col text /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6013" y="4182563"/>
            <a:ext cx="4527551" cy="2195437"/>
          </a:xfrm>
          <a:prstGeom prst="rect">
            <a:avLst/>
          </a:prstGeom>
        </p:spPr>
        <p:txBody>
          <a:bodyPr lIns="0" tIns="0" rIns="0" bIns="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582417" y="1440484"/>
            <a:ext cx="6129599" cy="4937517"/>
          </a:xfrm>
          <a:prstGeom prst="rect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76013" y="1440000"/>
            <a:ext cx="4527551" cy="2454560"/>
          </a:xfrm>
          <a:prstGeom prst="rect">
            <a:avLst/>
          </a:prstGeom>
        </p:spPr>
        <p:txBody>
          <a:bodyPr lIns="0" tIns="0" rIns="0" bIns="0" numCol="2" spcCol="288000"/>
          <a:lstStyle>
            <a:lvl1pPr marL="0" indent="0" algn="l">
              <a:buNone/>
              <a:defRPr sz="1600"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harts, graphs and graphics can be positioned over the grey box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Body text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322584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840000" y="1440000"/>
            <a:ext cx="2880000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104003" y="1440000"/>
            <a:ext cx="4607999" cy="4938000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134671088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-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75999" y="1440014"/>
            <a:ext cx="11136000" cy="2226767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0" indent="0" algn="l">
              <a:buNone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ody text</a:t>
            </a:r>
          </a:p>
          <a:p>
            <a:pPr lvl="0"/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000" y="3954794"/>
            <a:ext cx="11136000" cy="2423231"/>
          </a:xfrm>
          <a:prstGeom prst="rect">
            <a:avLst/>
          </a:prstGeom>
        </p:spPr>
        <p:txBody>
          <a:bodyPr lIns="0" tIns="0" rIns="0" bIns="0" numCol="1" spcCol="360000"/>
          <a:lstStyle>
            <a:lvl1pPr marL="228589" indent="-228589" algn="l">
              <a:buClr>
                <a:schemeClr val="accent2"/>
              </a:buClr>
              <a:buFont typeface="Arial" charset="0"/>
              <a:buChar char="•"/>
              <a:defRPr sz="16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Bullet points</a:t>
            </a:r>
          </a:p>
          <a:p>
            <a:pPr lvl="0"/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18401" y="533258"/>
            <a:ext cx="1680000" cy="28276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18000" rIns="0" bIns="0" anchor="ctr" anchorCtr="0">
            <a:noAutofit/>
          </a:bodyPr>
          <a:lstStyle>
            <a:lvl1pPr algn="l">
              <a:defRPr sz="1867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8401" y="816026"/>
            <a:ext cx="10588800" cy="335999"/>
          </a:xfrm>
          <a:prstGeom prst="rect">
            <a:avLst/>
          </a:prstGeom>
          <a:noFill/>
        </p:spPr>
        <p:txBody>
          <a:bodyPr lIns="36000" tIns="18000" rIns="0" bIns="0" anchor="ctr" anchorCtr="0"/>
          <a:lstStyle>
            <a:lvl1pPr marL="0" indent="0">
              <a:buNone/>
              <a:defRPr sz="1867" b="1"/>
            </a:lvl1pPr>
          </a:lstStyle>
          <a:p>
            <a:pPr lvl="0"/>
            <a:r>
              <a:rPr lang="en-US" dirty="0"/>
              <a:t>TEXT IN HERE</a:t>
            </a:r>
          </a:p>
        </p:txBody>
      </p:sp>
    </p:spTree>
    <p:extLst>
      <p:ext uri="{BB962C8B-B14F-4D97-AF65-F5344CB8AC3E}">
        <p14:creationId xmlns:p14="http://schemas.microsoft.com/office/powerpoint/2010/main" val="285093939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304800"/>
            <a:ext cx="10972800" cy="914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0" y="15240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0"/>
          <p:cNvSpPr>
            <a:spLocks noGrp="1" noChangeArrowheads="1"/>
          </p:cNvSpPr>
          <p:nvPr>
            <p:ph type="ftr" sz="quarter" idx="10"/>
          </p:nvPr>
        </p:nvSpPr>
        <p:spPr>
          <a:xfrm>
            <a:off x="814929" y="6245225"/>
            <a:ext cx="102743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enise Whitelock, TEASIG March 2020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68477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15272609" cy="509777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C3DB8-28FE-CD4A-AC01-87EE1020C5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97770"/>
            <a:ext cx="10492353" cy="1760230"/>
          </a:xfrm>
          <a:prstGeom prst="rect">
            <a:avLst/>
          </a:prstGeom>
        </p:spPr>
      </p:pic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3F6853B-E929-F241-91D8-856D67E458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E390F52-05CD-A068-38A6-49F5DCC4B2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7792215-3EBF-8AFE-D64C-230EB77D34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3961450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6001" cy="509777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4E638D-6AD4-9B4C-B7A9-1F0500BFE0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8" y="5097770"/>
            <a:ext cx="4417181" cy="1760230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58BB04F-25F0-024C-BD47-209C74A31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E36C6B16-6B0D-9EC9-CB32-E93F0F2560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099C368-7E26-527C-B143-BDB1D5B48D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2446733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380854" cy="685800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B06383-A6CB-5648-834D-B48F237057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761708" y="1715146"/>
            <a:ext cx="5145438" cy="1715146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633B3489-D726-D446-9A29-05672FA50E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A7E64E4-287C-1FCE-9776-59EE01B204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2966699-83CA-1202-E4B3-09DCD56EA7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1434543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1" y="1"/>
            <a:ext cx="3504968" cy="5119768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9A59EDF-990B-8A48-B3FB-ACAE78C6BE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0969" y="0"/>
            <a:ext cx="2599267" cy="511976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ED42EAE-A272-8E42-8B7F-417A3B4E7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C18FF0-D05E-863E-8223-ABAFDFA6D7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A3160A-FC53-80DA-EFCD-287B9BC384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763858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ED42EAE-A272-8E42-8B7F-417A3B4E72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6C18FF0-D05E-863E-8223-ABAFDFA6D7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10774418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A3160A-FC53-80DA-EFCD-287B9BC384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9754968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547971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380854" cy="685800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B06383-A6CB-5648-834D-B48F237057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761708" y="1715146"/>
            <a:ext cx="5145438" cy="1715146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633B3489-D726-D446-9A29-05672FA50E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A7E64E4-287C-1FCE-9776-59EE01B204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2966699-83CA-1202-E4B3-09DCD56EA7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1462953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22950F0-F837-3643-8F3C-58187D933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FD82CE-01EC-B1CB-A6FD-FB39AAE27B82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6F70F55-5634-E0E4-19BE-00F2336FEF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age Title</a:t>
            </a:r>
          </a:p>
        </p:txBody>
      </p:sp>
      <p:pic>
        <p:nvPicPr>
          <p:cNvPr id="7" name="Picture 6" descr="The Open University Logo">
            <a:extLst>
              <a:ext uri="{FF2B5EF4-FFF2-40B4-BE49-F238E27FC236}">
                <a16:creationId xmlns:a16="http://schemas.microsoft.com/office/drawing/2014/main" id="{1A8FBF3E-643E-C283-20B7-9D35C17A87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514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145810"/>
            <a:ext cx="10261817" cy="1087297"/>
          </a:xfrm>
        </p:spPr>
        <p:txBody>
          <a:bodyPr anchor="t" anchorCtr="0">
            <a:normAutofit/>
          </a:bodyPr>
          <a:lstStyle>
            <a:lvl1pPr algn="l">
              <a:defRPr sz="4000" b="1" i="0">
                <a:solidFill>
                  <a:srgbClr val="1B5C81"/>
                </a:solidFill>
                <a:latin typeface="Open Sans"/>
                <a:cs typeface="Open Sans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06724"/>
            <a:ext cx="10972800" cy="44355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811519"/>
                </a:solidFill>
              </a:defRPr>
            </a:lvl1pPr>
            <a:lvl2pPr>
              <a:lnSpc>
                <a:spcPct val="100000"/>
              </a:lnSpc>
              <a:defRPr>
                <a:solidFill>
                  <a:srgbClr val="811519"/>
                </a:solidFill>
              </a:defRPr>
            </a:lvl2pPr>
            <a:lvl3pPr>
              <a:lnSpc>
                <a:spcPct val="100000"/>
              </a:lnSpc>
              <a:defRPr>
                <a:solidFill>
                  <a:srgbClr val="811519"/>
                </a:solidFill>
              </a:defRPr>
            </a:lvl3pPr>
            <a:lvl4pPr>
              <a:lnSpc>
                <a:spcPct val="100000"/>
              </a:lnSpc>
              <a:defRPr>
                <a:solidFill>
                  <a:srgbClr val="811519"/>
                </a:solidFill>
              </a:defRPr>
            </a:lvl4pPr>
            <a:lvl5pPr>
              <a:lnSpc>
                <a:spcPct val="100000"/>
              </a:lnSpc>
              <a:defRPr>
                <a:solidFill>
                  <a:srgbClr val="811519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0814A-8928-A348-8476-6C2492BA98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24535" y="6693871"/>
            <a:ext cx="12480000" cy="176121"/>
          </a:xfrm>
          <a:prstGeom prst="rect">
            <a:avLst/>
          </a:prstGeom>
          <a:solidFill>
            <a:srgbClr val="D6D3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Picture 7" descr="kmi-logo-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947" y="5866502"/>
            <a:ext cx="2093773" cy="72176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9B5C008-2B24-644B-98C0-9182B9CFC6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20176" y="58405"/>
            <a:ext cx="1071824" cy="74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1578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D4C0E-27ED-3743-95DF-8D76F5A5EB0D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5EB9C-3484-6948-9AB5-D303A972A747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-196324" y="6577198"/>
            <a:ext cx="13165949" cy="320400"/>
          </a:xfrm>
          <a:prstGeom prst="rect">
            <a:avLst/>
          </a:prstGeom>
          <a:solidFill>
            <a:srgbClr val="D6D3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13029701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layout - 3 colum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body" idx="1"/>
          </p:nvPr>
        </p:nvSpPr>
        <p:spPr>
          <a:xfrm>
            <a:off x="575999" y="1440001"/>
            <a:ext cx="2880000" cy="5418001"/>
          </a:xfrm>
          <a:prstGeom prst="rect">
            <a:avLst/>
          </a:prstGeom>
        </p:spPr>
        <p:txBody>
          <a:bodyPr/>
          <a:lstStyle>
            <a:lvl2pPr marL="685782" indent="-228593">
              <a:buSzPct val="100000"/>
              <a:buChar char="•"/>
            </a:lvl2pPr>
            <a:lvl3pPr marL="1142971" indent="-228593">
              <a:buSzPct val="100000"/>
              <a:buChar char="•"/>
            </a:lvl3pPr>
            <a:lvl4pPr marL="1600159" indent="-228593">
              <a:buSzPct val="100000"/>
              <a:buChar char="•"/>
            </a:lvl4pPr>
            <a:lvl5pPr marL="2057349" indent="-228593">
              <a:buSzPct val="100000"/>
              <a:buChar char="•"/>
            </a:lvl5pPr>
          </a:lstStyle>
          <a:p>
            <a:pPr lvl="0">
              <a:defRPr sz="1800"/>
            </a:pPr>
            <a:r>
              <a:rPr sz="1200"/>
              <a:t>Body Level One</a:t>
            </a:r>
          </a:p>
          <a:p>
            <a:pPr lvl="1">
              <a:defRPr sz="1800"/>
            </a:pPr>
            <a:r>
              <a:rPr sz="1200"/>
              <a:t>Body Level Two</a:t>
            </a:r>
          </a:p>
          <a:p>
            <a:pPr lvl="2">
              <a:defRPr sz="1800"/>
            </a:pPr>
            <a:r>
              <a:rPr sz="1200"/>
              <a:t>Body Level Three</a:t>
            </a:r>
          </a:p>
          <a:p>
            <a:pPr lvl="3">
              <a:defRPr sz="1800"/>
            </a:pPr>
            <a:r>
              <a:rPr sz="1200"/>
              <a:t>Body Level Four</a:t>
            </a:r>
          </a:p>
          <a:p>
            <a:pPr lvl="4">
              <a:defRPr sz="1800"/>
            </a:pPr>
            <a:r>
              <a:rPr sz="1200"/>
              <a:t>Body Level Five</a:t>
            </a:r>
          </a:p>
        </p:txBody>
      </p:sp>
      <p:sp>
        <p:nvSpPr>
          <p:cNvPr id="73" name="Shape 73"/>
          <p:cNvSpPr>
            <a:spLocks noGrp="1"/>
          </p:cNvSpPr>
          <p:nvPr>
            <p:ph type="title"/>
          </p:nvPr>
        </p:nvSpPr>
        <p:spPr>
          <a:xfrm>
            <a:off x="518404" y="1"/>
            <a:ext cx="1680001" cy="1349236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1400">
                <a:solidFill>
                  <a:srgbClr val="FFFFFF"/>
                </a:solidFill>
              </a:rPr>
              <a:t>Title Tex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26371C-2DFF-6C41-8678-201E10BDCF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78732" y="320696"/>
            <a:ext cx="921289" cy="605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088533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8191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5">
            <a:extLst>
              <a:ext uri="{FF2B5EF4-FFF2-40B4-BE49-F238E27FC236}">
                <a16:creationId xmlns:a16="http://schemas.microsoft.com/office/drawing/2014/main" id="{23137FAB-50F3-4D4D-8D9C-96A960995EA2}"/>
              </a:ext>
            </a:extLst>
          </p:cNvPr>
          <p:cNvSpPr/>
          <p:nvPr userDrawn="1"/>
        </p:nvSpPr>
        <p:spPr>
          <a:xfrm flipV="1">
            <a:off x="342490" y="-4"/>
            <a:ext cx="11849511" cy="5598626"/>
          </a:xfrm>
          <a:custGeom>
            <a:avLst/>
            <a:gdLst>
              <a:gd name="connsiteX0" fmla="*/ 0 w 11849511"/>
              <a:gd name="connsiteY0" fmla="*/ 5598626 h 5598626"/>
              <a:gd name="connsiteX1" fmla="*/ 5242441 w 11849511"/>
              <a:gd name="connsiteY1" fmla="*/ 5598626 h 5598626"/>
              <a:gd name="connsiteX2" fmla="*/ 7795497 w 11849511"/>
              <a:gd name="connsiteY2" fmla="*/ 718408 h 5598626"/>
              <a:gd name="connsiteX3" fmla="*/ 11443683 w 11849511"/>
              <a:gd name="connsiteY3" fmla="*/ 2246863 h 5598626"/>
              <a:gd name="connsiteX4" fmla="*/ 11849511 w 11849511"/>
              <a:gd name="connsiteY4" fmla="*/ 2520015 h 5598626"/>
              <a:gd name="connsiteX5" fmla="*/ 11849511 w 11849511"/>
              <a:gd name="connsiteY5" fmla="*/ 1154733 h 5598626"/>
              <a:gd name="connsiteX6" fmla="*/ 11598119 w 11849511"/>
              <a:gd name="connsiteY6" fmla="*/ 1052618 h 5598626"/>
              <a:gd name="connsiteX7" fmla="*/ 6642904 w 11849511"/>
              <a:gd name="connsiteY7" fmla="*/ 0 h 5598626"/>
              <a:gd name="connsiteX8" fmla="*/ 0 w 11849511"/>
              <a:gd name="connsiteY8" fmla="*/ 5598626 h 5598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849511" h="5598626">
                <a:moveTo>
                  <a:pt x="0" y="5598626"/>
                </a:moveTo>
                <a:lnTo>
                  <a:pt x="5242441" y="5598626"/>
                </a:lnTo>
                <a:cubicBezTo>
                  <a:pt x="5242441" y="5598626"/>
                  <a:pt x="4635162" y="718408"/>
                  <a:pt x="7795497" y="718408"/>
                </a:cubicBezTo>
                <a:cubicBezTo>
                  <a:pt x="8980624" y="718408"/>
                  <a:pt x="10164008" y="1397721"/>
                  <a:pt x="11443683" y="2246863"/>
                </a:cubicBezTo>
                <a:lnTo>
                  <a:pt x="11849511" y="2520015"/>
                </a:lnTo>
                <a:lnTo>
                  <a:pt x="11849511" y="1154733"/>
                </a:lnTo>
                <a:lnTo>
                  <a:pt x="11598119" y="1052618"/>
                </a:lnTo>
                <a:cubicBezTo>
                  <a:pt x="10085993" y="455186"/>
                  <a:pt x="8444994" y="0"/>
                  <a:pt x="6642904" y="0"/>
                </a:cubicBezTo>
                <a:cubicBezTo>
                  <a:pt x="1388069" y="0"/>
                  <a:pt x="0" y="5598626"/>
                  <a:pt x="0" y="5598626"/>
                </a:cubicBezTo>
                <a:close/>
              </a:path>
            </a:pathLst>
          </a:cu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bg1">
                  <a:lumMod val="95000"/>
                </a:schemeClr>
              </a:gs>
              <a:gs pos="8300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720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>
              <a:latin typeface="Arial" panose="020B0604020202020204" pitchFamily="34" charset="0"/>
            </a:endParaRPr>
          </a:p>
        </p:txBody>
      </p:sp>
      <p:pic>
        <p:nvPicPr>
          <p:cNvPr id="17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553D5FB2-8464-0541-9856-C5575CAA9E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600" b="36176"/>
          <a:stretch/>
        </p:blipFill>
        <p:spPr>
          <a:xfrm>
            <a:off x="10192631" y="6393435"/>
            <a:ext cx="1649503" cy="25864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B30B5E0-ECC2-FB49-8184-74E272C54129}"/>
              </a:ext>
            </a:extLst>
          </p:cNvPr>
          <p:cNvSpPr/>
          <p:nvPr userDrawn="1"/>
        </p:nvSpPr>
        <p:spPr bwMode="gray">
          <a:xfrm>
            <a:off x="312510" y="6483975"/>
            <a:ext cx="254349" cy="168101"/>
          </a:xfrm>
          <a:prstGeom prst="rect">
            <a:avLst/>
          </a:prstGeom>
        </p:spPr>
        <p:txBody>
          <a:bodyPr vert="horz" lIns="0" tIns="18000" rIns="0" bIns="18000" rtlCol="0" anchor="ctr" anchorCtr="0">
            <a:noAutofit/>
          </a:bodyPr>
          <a:lstStyle/>
          <a:p>
            <a:pPr lvl="0" algn="r"/>
            <a:fld id="{7A58C72A-FAEE-4A7B-812F-151929DEA70F}" type="slidenum">
              <a:rPr lang="en-US" sz="800" b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lvl="0" algn="r"/>
              <a:t>‹#›</a:t>
            </a:fld>
            <a:endParaRPr lang="en-US" sz="800" b="0">
              <a:solidFill>
                <a:schemeClr val="tx1">
                  <a:lumMod val="50000"/>
                  <a:lumOff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606AAE1-9D8D-1142-9AA5-9CB56AD5E65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07142" y="6491233"/>
            <a:ext cx="3996000" cy="160844"/>
          </a:xfrm>
          <a:prstGeom prst="rect">
            <a:avLst/>
          </a:prstGeom>
        </p:spPr>
        <p:txBody>
          <a:bodyPr vert="horz" lIns="0" tIns="18000" rIns="0" bIns="18000" rtlCol="0" anchor="ctr" anchorCtr="0">
            <a:noAutofit/>
          </a:bodyPr>
          <a:lstStyle/>
          <a:p>
            <a:pPr lvl="0" algn="l"/>
            <a:r>
              <a:rPr lang="en-GB" sz="800" b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© Infosys Consulting 2021</a:t>
            </a:r>
            <a:endParaRPr lang="en-US" sz="800" b="0">
              <a:solidFill>
                <a:schemeClr val="tx1">
                  <a:lumMod val="50000"/>
                  <a:lumOff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483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0044" y="1182914"/>
            <a:ext cx="11541919" cy="4837039"/>
          </a:xfrm>
          <a:prstGeom prst="rect">
            <a:avLst/>
          </a:prstGeom>
        </p:spPr>
        <p:txBody>
          <a:bodyPr lIns="0" tIns="0" rIns="0" bIns="0"/>
          <a:lstStyle>
            <a:lvl1pPr marL="112713" marR="0" indent="-112713" algn="l" defTabSz="4572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lang="en-US" sz="1600" b="0" i="0" u="none" strike="noStrike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1pPr>
            <a:lvl2pPr marL="511175" indent="-285750">
              <a:buFont typeface="Courier New" charset="0"/>
              <a:buChar char="o"/>
              <a:defRPr lang="en-US" sz="1600" b="0" i="0" u="none" strike="noStrike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2pPr>
            <a:lvl3pPr marL="746125" indent="-171450">
              <a:buFont typeface="Wingdings" charset="2"/>
              <a:buChar char="§"/>
              <a:defRPr lang="en-US" sz="1600" b="0" i="0" u="none" strike="noStrike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Calibri"/>
              </a:defRPr>
            </a:lvl3pPr>
            <a:lvl4pPr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>
              <a:defRPr>
                <a:latin typeface="Arial" charset="0"/>
                <a:ea typeface="Arial" charset="0"/>
                <a:cs typeface="Arial" charset="0"/>
              </a:defRPr>
            </a:lvl6pPr>
            <a:lvl7pPr>
              <a:defRPr>
                <a:latin typeface="Arial" charset="0"/>
                <a:ea typeface="Arial" charset="0"/>
                <a:cs typeface="Arial" charset="0"/>
              </a:defRPr>
            </a:lvl7pPr>
            <a:lvl8pPr>
              <a:defRPr>
                <a:latin typeface="Arial" charset="0"/>
                <a:ea typeface="Arial" charset="0"/>
                <a:cs typeface="Arial" charset="0"/>
              </a:defRPr>
            </a:lvl8pPr>
            <a:lvl9pPr>
              <a:defRPr>
                <a:latin typeface="Arial" charset="0"/>
                <a:ea typeface="Arial" charset="0"/>
                <a:cs typeface="Arial" charset="0"/>
              </a:defRPr>
            </a:lvl9pPr>
          </a:lstStyle>
          <a:p>
            <a:pPr lvl="0"/>
            <a:r>
              <a:rPr lang="en-US"/>
              <a:t>Click to edit text. Use the buttons “Increase List Level” and “Decrease List Level” for </a:t>
            </a:r>
            <a:r>
              <a:rPr lang="en-US" err="1"/>
              <a:t>copytext</a:t>
            </a:r>
            <a:r>
              <a:rPr lang="en-US"/>
              <a:t> or bullet levels.</a:t>
            </a:r>
          </a:p>
          <a:p>
            <a:pPr marL="400050" marR="0" lvl="1" indent="-174625" algn="l" defTabSz="4572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</a:pPr>
            <a:r>
              <a:rPr lang="en-US"/>
              <a:t>Second level</a:t>
            </a:r>
          </a:p>
          <a:p>
            <a:pPr marL="739775" marR="0" lvl="2" indent="-165100" algn="l" defTabSz="4572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</a:pPr>
            <a:r>
              <a:rPr lang="en-US"/>
              <a:t>Third level</a:t>
            </a:r>
          </a:p>
        </p:txBody>
      </p:sp>
      <p:sp>
        <p:nvSpPr>
          <p:cNvPr id="19" name="Shape 40"/>
          <p:cNvSpPr>
            <a:spLocks noGrp="1"/>
          </p:cNvSpPr>
          <p:nvPr>
            <p:ph type="title" hasCustomPrompt="1"/>
          </p:nvPr>
        </p:nvSpPr>
        <p:spPr>
          <a:xfrm>
            <a:off x="349072" y="160320"/>
            <a:ext cx="11543008" cy="4068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49658" y="565422"/>
            <a:ext cx="11542305" cy="212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rgbClr val="53535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1544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22950F0-F837-3643-8F3C-58187D933A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0618" y="5846618"/>
            <a:ext cx="1011382" cy="10113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FD82CE-01EC-B1CB-A6FD-FB39AAE27B82}"/>
              </a:ext>
            </a:extLst>
          </p:cNvPr>
          <p:cNvSpPr txBox="1"/>
          <p:nvPr userDrawn="1"/>
        </p:nvSpPr>
        <p:spPr>
          <a:xfrm>
            <a:off x="11515725" y="6493625"/>
            <a:ext cx="63225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3858C3-E774-4B3F-8AA9-3979BAFA574F}" type="slidenum">
              <a:rPr lang="en-GB" sz="1500" smtClean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‹#›</a:t>
            </a:fld>
            <a:endParaRPr lang="en-GB" sz="15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69D1CE6-1539-C9FF-428F-50E945C8CF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105" y="1759363"/>
            <a:ext cx="3691545" cy="31731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name: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6F70F55-5634-E0E4-19BE-00F2336FEF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915" y="404664"/>
            <a:ext cx="10766703" cy="4971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1" i="0">
                <a:ln>
                  <a:noFill/>
                </a:ln>
                <a:solidFill>
                  <a:srgbClr val="060645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ents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672EBB80-A06E-419B-5D88-C52E35F084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591" y="1759363"/>
            <a:ext cx="572718" cy="31731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1" i="0">
                <a:ln>
                  <a:noFill/>
                </a:ln>
                <a:solidFill>
                  <a:srgbClr val="1C46C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BE89543-A931-7E7D-70F4-0895930BED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1759363"/>
            <a:ext cx="3691545" cy="31731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ln>
                  <a:noFill/>
                </a:ln>
                <a:solidFill>
                  <a:srgbClr val="060645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name: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B202B306-D134-FDA1-EFFA-1473A26ED44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885486" y="1759363"/>
            <a:ext cx="572718" cy="317312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1" i="0">
                <a:ln>
                  <a:noFill/>
                </a:ln>
                <a:solidFill>
                  <a:srgbClr val="1C46C0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9</a:t>
            </a:r>
          </a:p>
        </p:txBody>
      </p:sp>
      <p:pic>
        <p:nvPicPr>
          <p:cNvPr id="7" name="Picture 6" descr="The Open University Logo">
            <a:extLst>
              <a:ext uri="{FF2B5EF4-FFF2-40B4-BE49-F238E27FC236}">
                <a16:creationId xmlns:a16="http://schemas.microsoft.com/office/drawing/2014/main" id="{E4D12D21-2F9E-2846-20E0-F0307CE0821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676" y="5829301"/>
            <a:ext cx="1709990" cy="58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525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190695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15272609" cy="509777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1C3DB8-28FE-CD4A-AC01-87EE1020C5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97770"/>
            <a:ext cx="10492353" cy="1760230"/>
          </a:xfrm>
          <a:prstGeom prst="rect">
            <a:avLst/>
          </a:prstGeom>
        </p:spPr>
      </p:pic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3F6853B-E929-F241-91D8-856D67E458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E390F52-05CD-A068-38A6-49F5DCC4B2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7792215-3EBF-8AFE-D64C-230EB77D34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3446994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79A3FDC1-DA18-B647-8002-951F8A2778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6001" cy="5097770"/>
          </a:xfrm>
          <a:prstGeom prst="round2SameRect">
            <a:avLst>
              <a:gd name="adj1" fmla="val 42678"/>
              <a:gd name="adj2" fmla="val 4847"/>
            </a:avLst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4E638D-6AD4-9B4C-B7A9-1F0500BFE0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98" y="5097770"/>
            <a:ext cx="4417181" cy="1760230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58BB04F-25F0-024C-BD47-209C74A31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2353" y="5596325"/>
            <a:ext cx="1699647" cy="76379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E36C6B16-6B0D-9EC9-CB32-E93F0F2560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207" y="559121"/>
            <a:ext cx="5328592" cy="180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500" b="1" i="0">
                <a:ln>
                  <a:noFill/>
                </a:ln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hapter Title Goes He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099C368-7E26-527C-B143-BDB1D5B48D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8207" y="2431329"/>
            <a:ext cx="4824413" cy="24394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3000" b="0" i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defRPr>
            </a:lvl1pPr>
            <a:lvl2pPr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 title here</a:t>
            </a:r>
          </a:p>
        </p:txBody>
      </p:sp>
    </p:spTree>
    <p:extLst>
      <p:ext uri="{BB962C8B-B14F-4D97-AF65-F5344CB8AC3E}">
        <p14:creationId xmlns:p14="http://schemas.microsoft.com/office/powerpoint/2010/main" val="2753253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9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29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33.png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60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BB4780-4959-E441-87C3-B265F63A8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2B00EC-F294-CD4B-BCBA-AF4A8BC262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1ED8D8-BEBD-1B42-B387-F27F84E37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</a:defRPr>
            </a:lvl1pPr>
          </a:lstStyle>
          <a:p>
            <a:fld id="{0AAA8F9F-42A8-344E-BFDB-6B187AAC9728}" type="datetimeFigureOut">
              <a:rPr lang="en-US" smtClean="0"/>
              <a:pPr/>
              <a:t>4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D480C4-4982-D141-B7F4-847D6255AB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A1986B-A33C-FB46-96C5-A7D0198BBA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Poppins" panose="00000500000000000000" pitchFamily="2" charset="0"/>
              </a:defRPr>
            </a:lvl1pPr>
          </a:lstStyle>
          <a:p>
            <a:fld id="{60BAE0D0-DB37-5740-9BD9-F5C7BF39F16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755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30" r:id="rId2"/>
    <p:sldLayoutId id="214748391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Poppins" panose="000005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Poppins" panose="000005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oppins" panose="000005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oppins" panose="000005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" panose="000005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oppins" panose="000005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4106" y="221057"/>
            <a:ext cx="859989" cy="591240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023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7" r:id="rId10"/>
  </p:sldLayoutIdLst>
  <p:hf hdr="0" ftr="0" dt="0"/>
  <p:txStyles>
    <p:titleStyle>
      <a:lvl1pPr algn="l" defTabSz="1219139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39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4106" y="221057"/>
            <a:ext cx="859989" cy="591240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7515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</p:sldLayoutIdLst>
  <p:hf hdr="0" dt="0"/>
  <p:txStyles>
    <p:titleStyle>
      <a:lvl1pPr algn="l" defTabSz="1219139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39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7981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9" r:id="rId6"/>
    <p:sldLayoutId id="2147484020" r:id="rId7"/>
    <p:sldLayoutId id="2147484021" r:id="rId8"/>
    <p:sldLayoutId id="2147484022" r:id="rId9"/>
    <p:sldLayoutId id="2147484023" r:id="rId10"/>
    <p:sldLayoutId id="2147484025" r:id="rId11"/>
    <p:sldLayoutId id="2147484026" r:id="rId12"/>
    <p:sldLayoutId id="214748402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5134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  <p:sldLayoutId id="2147484042" r:id="rId13"/>
    <p:sldLayoutId id="2147484043" r:id="rId14"/>
    <p:sldLayoutId id="214748404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4106" y="221057"/>
            <a:ext cx="859989" cy="591240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999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</p:sldLayoutIdLst>
  <p:hf hdr="0" dt="0"/>
  <p:txStyles>
    <p:titleStyle>
      <a:lvl1pPr algn="l" defTabSz="1219139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39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B154FC-DF5A-095D-D882-53ABBA4BE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D418BC-8CFD-4812-65A5-055AF0BD03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C29FDD-8DDF-2A2E-01F6-B2CFDAE211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7005B21-4E5D-5142-B35A-A41DF7978D32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A57A02-8AEA-E26C-39F4-C353C1C58C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6BC981-307D-AA3D-2F8F-E3DD96EC94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414BCA7-128E-FA4E-8786-9E41907CF1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816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539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92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8391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92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628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919" r:id="rId2"/>
    <p:sldLayoutId id="2147483828" r:id="rId3"/>
    <p:sldLayoutId id="2147483829" r:id="rId4"/>
    <p:sldLayoutId id="2147483830" r:id="rId5"/>
    <p:sldLayoutId id="2147483831" r:id="rId6"/>
    <p:sldLayoutId id="2147483835" r:id="rId7"/>
    <p:sldLayoutId id="2147483836" r:id="rId8"/>
    <p:sldLayoutId id="2147483839" r:id="rId9"/>
    <p:sldLayoutId id="2147483935" r:id="rId10"/>
    <p:sldLayoutId id="2147483842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0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0140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625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9" r:id="rId2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7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3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1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7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1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4106" y="221057"/>
            <a:ext cx="859989" cy="591240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907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4" r:id="rId12"/>
  </p:sldLayoutIdLst>
  <p:hf hdr="0" dt="0"/>
  <p:txStyles>
    <p:titleStyle>
      <a:lvl1pPr algn="l" defTabSz="1219139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39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3ED99F8-E22C-4D15-85F7-8D466F90469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1926" y="200297"/>
            <a:ext cx="1083788" cy="558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3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4106" y="221057"/>
            <a:ext cx="859989" cy="591240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712000" y="6378000"/>
            <a:ext cx="480000" cy="480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0406593E-52CF-5B45-8CFF-7309163A47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622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</p:sldLayoutIdLst>
  <p:hf hdr="0" ftr="0" dt="0"/>
  <p:txStyles>
    <p:titleStyle>
      <a:lvl1pPr algn="l" defTabSz="1219139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39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3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fabiusmaximus.com/2017/08/07/the-history-of-immigration/" TargetMode="External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86.xml"/><Relationship Id="rId4" Type="http://schemas.openxmlformats.org/officeDocument/2006/relationships/hyperlink" Target="https://creativecommons.org/licenses/by/3.0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57.png"/><Relationship Id="rId4" Type="http://schemas.openxmlformats.org/officeDocument/2006/relationships/image" Target="../media/image56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5" Type="http://schemas.openxmlformats.org/officeDocument/2006/relationships/hyperlink" Target="https://creativecommons.org/licenses/by-nc-sa/3.0/" TargetMode="External"/><Relationship Id="rId4" Type="http://schemas.openxmlformats.org/officeDocument/2006/relationships/hyperlink" Target="https://www.ictworks.org/stop-innovation-madness/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7.xml"/><Relationship Id="rId5" Type="http://schemas.openxmlformats.org/officeDocument/2006/relationships/hyperlink" Target="https://creativecommons.org/licenses/by/3.0/" TargetMode="External"/><Relationship Id="rId4" Type="http://schemas.openxmlformats.org/officeDocument/2006/relationships/hyperlink" Target="https://game-icons.net/1x1/lord-berandas/artificial-intelligence.html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scherlund.blogspot.com/2020/10/shakespeaire-artificial-intelligence.html" TargetMode="External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creativecommons.org/licenses/by/3.0/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towards-data-science/what-is-artificial-intelligence-ai-ad5ba87b55dd" TargetMode="External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3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4" Type="http://schemas.openxmlformats.org/officeDocument/2006/relationships/hyperlink" Target="https://helibtech.com/artificial_intelligence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403.15396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0.xml"/><Relationship Id="rId5" Type="http://schemas.openxmlformats.org/officeDocument/2006/relationships/hyperlink" Target="https://creativecommons.org/licenses/by-sa/3.0/" TargetMode="External"/><Relationship Id="rId4" Type="http://schemas.openxmlformats.org/officeDocument/2006/relationships/hyperlink" Target="https://www.flickr.com/photos/indissoluble/8102785054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pixabay.com/en/goal-soccer-sport-aim-ball-grass-20121/" TargetMode="External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10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9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7.xml"/><Relationship Id="rId5" Type="http://schemas.openxmlformats.org/officeDocument/2006/relationships/hyperlink" Target="https://creativecommons.org/licenses/by-nc-nd/3.0/" TargetMode="External"/><Relationship Id="rId4" Type="http://schemas.openxmlformats.org/officeDocument/2006/relationships/hyperlink" Target="https://www.i-tecnico.pt/openai-anuncia-o-novo-gpt-4/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1.xml"/><Relationship Id="rId5" Type="http://schemas.openxmlformats.org/officeDocument/2006/relationships/hyperlink" Target="https://creativecommons.org/licenses/by-nc/3.0/" TargetMode="External"/><Relationship Id="rId4" Type="http://schemas.openxmlformats.org/officeDocument/2006/relationships/hyperlink" Target="https://www.pngall.com/college-png/download/70057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2AC98-8F4A-A002-FEDA-2D0C617B145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-425903"/>
            <a:ext cx="10515600" cy="347039"/>
          </a:xfrm>
        </p:spPr>
        <p:txBody>
          <a:bodyPr>
            <a:normAutofit fontScale="90000"/>
          </a:bodyPr>
          <a:lstStyle/>
          <a:p>
            <a:r>
              <a:rPr lang="en-GB" sz="2000" dirty="0"/>
              <a:t>Intro</a:t>
            </a:r>
            <a:r>
              <a:rPr lang="en-GB" sz="2000" baseline="0" dirty="0"/>
              <a:t> </a:t>
            </a:r>
            <a:r>
              <a:rPr lang="en-GB" sz="2000" dirty="0"/>
              <a:t>Slide Title 1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CD67DD9-3DAA-313B-8305-6C266ED950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8207" y="375639"/>
            <a:ext cx="11589352" cy="2100295"/>
          </a:xfrm>
        </p:spPr>
        <p:txBody>
          <a:bodyPr/>
          <a:lstStyle/>
          <a:p>
            <a:r>
              <a:rPr lang="en-GB" sz="6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tificial Intelligence in Education: Making Students </a:t>
            </a:r>
            <a:r>
              <a:rPr lang="en-GB" sz="6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</a:t>
            </a:r>
            <a:r>
              <a:rPr lang="en-GB" sz="6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ter</a:t>
            </a: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 </a:t>
            </a:r>
          </a:p>
          <a:p>
            <a:endParaRPr lang="en-GB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81A18EA-A9B5-381F-97C4-750E953780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8207" y="3011853"/>
            <a:ext cx="5687793" cy="583417"/>
          </a:xfrm>
        </p:spPr>
        <p:txBody>
          <a:bodyPr/>
          <a:lstStyle/>
          <a:p>
            <a:r>
              <a:rPr lang="en-US" sz="3200" dirty="0"/>
              <a:t>Professor Denise Whitelock</a:t>
            </a:r>
          </a:p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1E9862C-F9C6-300D-C161-CC5F2057C1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8207" y="3599725"/>
            <a:ext cx="5557584" cy="347039"/>
          </a:xfrm>
        </p:spPr>
        <p:txBody>
          <a:bodyPr/>
          <a:lstStyle/>
          <a:p>
            <a:r>
              <a:rPr lang="en-GB" sz="2400" b="0" dirty="0"/>
              <a:t>Director Institute of Educational Technology</a:t>
            </a:r>
          </a:p>
          <a:p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CCC83C-A3BB-829E-51E0-D71CBA10B1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8207" y="4505720"/>
            <a:ext cx="5557584" cy="347039"/>
          </a:xfrm>
        </p:spPr>
        <p:txBody>
          <a:bodyPr/>
          <a:lstStyle/>
          <a:p>
            <a:r>
              <a:rPr lang="en-GB" sz="2400" dirty="0"/>
              <a:t>The Open University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C582E8A-5AC5-EBB0-D16B-4437F42A33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8207" y="5030734"/>
            <a:ext cx="5557584" cy="347039"/>
          </a:xfrm>
        </p:spPr>
        <p:txBody>
          <a:bodyPr/>
          <a:lstStyle/>
          <a:p>
            <a:r>
              <a:rPr lang="en-US" sz="2400" dirty="0"/>
              <a:t>Denise.whitelock@open.ac.uk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2895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E3CC3C-3C05-4E48-93B0-500EB3B28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8959" y="273665"/>
            <a:ext cx="10766703" cy="687339"/>
          </a:xfrm>
        </p:spPr>
        <p:txBody>
          <a:bodyPr/>
          <a:lstStyle/>
          <a:p>
            <a:r>
              <a:rPr lang="en-GB" sz="3200" b="1" dirty="0"/>
              <a:t>AI supporting  tutors  feedback to studen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A9B4B7-9463-DF92-5ECB-485A70BB98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4902" y="1269166"/>
            <a:ext cx="9969945" cy="54786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2DB417B-10AB-D1D2-D2B1-91DA9E62AD04}"/>
              </a:ext>
            </a:extLst>
          </p:cNvPr>
          <p:cNvSpPr txBox="1"/>
          <p:nvPr/>
        </p:nvSpPr>
        <p:spPr>
          <a:xfrm>
            <a:off x="984902" y="4250362"/>
            <a:ext cx="2325857" cy="2189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marR="0" lvl="0" indent="-214313" algn="l" defTabSz="914378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t>Initial build by OU with JISC funding</a:t>
            </a:r>
          </a:p>
          <a:p>
            <a:pPr marL="214313" marR="0" lvl="0" indent="-214313" algn="l" defTabSz="914378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t>Employed by Southampton University and Kings College London with JISC funding for technology transfer </a:t>
            </a:r>
          </a:p>
        </p:txBody>
      </p:sp>
    </p:spTree>
    <p:extLst>
      <p:ext uri="{BB962C8B-B14F-4D97-AF65-F5344CB8AC3E}">
        <p14:creationId xmlns:p14="http://schemas.microsoft.com/office/powerpoint/2010/main" val="28500368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8D96E2-33B4-6877-2FBC-F7489E85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0496" y="1073754"/>
            <a:ext cx="5328592" cy="4165460"/>
          </a:xfrm>
        </p:spPr>
        <p:txBody>
          <a:bodyPr lIns="91440" tIns="45720" rIns="91440" bIns="45720" anchor="t">
            <a:noAutofit/>
          </a:bodyPr>
          <a:lstStyle/>
          <a:p>
            <a:r>
              <a:rPr lang="en-GB" sz="6000" dirty="0">
                <a:latin typeface="Poppins SemiBold"/>
                <a:cs typeface="Poppins SemiBold"/>
              </a:rPr>
              <a:t>Lessons Learnt from AI Feedback systems </a:t>
            </a:r>
          </a:p>
        </p:txBody>
      </p:sp>
      <p:pic>
        <p:nvPicPr>
          <p:cNvPr id="15" name="Picture Placeholder 14" descr="A light bulb with a yellow light inside&#10;&#10;Description automatically generated">
            <a:extLst>
              <a:ext uri="{FF2B5EF4-FFF2-40B4-BE49-F238E27FC236}">
                <a16:creationId xmlns:a16="http://schemas.microsoft.com/office/drawing/2014/main" id="{AA9696DF-3854-B0C0-5C1A-0CBA7F7977C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164" r="2164"/>
          <a:stretch>
            <a:fillRect/>
          </a:stretch>
        </p:blipFill>
        <p:spPr>
          <a:xfrm>
            <a:off x="5881178" y="141752"/>
            <a:ext cx="6096000" cy="5097462"/>
          </a:xfr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97C0199-651D-F23E-CFF5-B0FB7244BC36}"/>
              </a:ext>
            </a:extLst>
          </p:cNvPr>
          <p:cNvSpPr txBox="1"/>
          <p:nvPr/>
        </p:nvSpPr>
        <p:spPr>
          <a:xfrm>
            <a:off x="5881688" y="5429250"/>
            <a:ext cx="6096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3" tooltip="https://fabiusmaximus.com/2017/08/07/the-history-of-immigration/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4" tooltip="https://creativecommons.org/licenses/by/3.0/"/>
              </a:rPr>
              <a:t>CC BY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42466421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38C482AB-BAC2-E441-A751-F7C8FB92E6CB}"/>
              </a:ext>
            </a:extLst>
          </p:cNvPr>
          <p:cNvSpPr txBox="1"/>
          <p:nvPr/>
        </p:nvSpPr>
        <p:spPr>
          <a:xfrm>
            <a:off x="464808" y="320262"/>
            <a:ext cx="6066621" cy="461665"/>
          </a:xfrm>
          <a:prstGeom prst="rect">
            <a:avLst/>
          </a:prstGeom>
          <a:solidFill>
            <a:srgbClr val="1D499B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r>
              <a:rPr lang="en-GB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and feedback to tutors and students</a:t>
            </a:r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19C1B921-B31D-4537-9ABF-22D6BE4B25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506" r="2715" b="8355"/>
          <a:stretch/>
        </p:blipFill>
        <p:spPr>
          <a:xfrm>
            <a:off x="802272" y="2181842"/>
            <a:ext cx="4259592" cy="389879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5B846AC-A5A0-45A9-8FB9-70567104E9ED}"/>
              </a:ext>
            </a:extLst>
          </p:cNvPr>
          <p:cNvSpPr txBox="1"/>
          <p:nvPr/>
        </p:nvSpPr>
        <p:spPr>
          <a:xfrm>
            <a:off x="555771" y="6381136"/>
            <a:ext cx="494679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buSzPts val="1000"/>
              <a:tabLst>
                <a:tab pos="342891" algn="l"/>
              </a:tabLst>
            </a:pPr>
            <a:r>
              <a:rPr lang="en-GB" sz="7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Herodotou</a:t>
            </a:r>
            <a:r>
              <a:rPr lang="en-GB" sz="7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, C.; Rienties, Bart; </a:t>
            </a:r>
            <a:r>
              <a:rPr lang="en-GB" sz="7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Boroowa</a:t>
            </a:r>
            <a:r>
              <a:rPr lang="en-GB" sz="7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, </a:t>
            </a:r>
            <a:r>
              <a:rPr lang="en-GB" sz="7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Avinash</a:t>
            </a:r>
            <a:r>
              <a:rPr lang="en-GB" sz="7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; </a:t>
            </a:r>
            <a:r>
              <a:rPr lang="en-GB" sz="7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Zdrahal</a:t>
            </a:r>
            <a:r>
              <a:rPr lang="en-GB" sz="7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, </a:t>
            </a:r>
            <a:r>
              <a:rPr lang="en-GB" sz="7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Zdenek</a:t>
            </a:r>
            <a:r>
              <a:rPr lang="en-GB" sz="7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and </a:t>
            </a:r>
            <a:r>
              <a:rPr lang="en-GB" sz="7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Hlosta</a:t>
            </a:r>
            <a:r>
              <a:rPr lang="en-GB" sz="7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, Martin (2019). A large-scale implementation of Predictive Learning Analytics in Higher Education: the teachers' role and perspective. Educational Technology Research and Development, 67(5) pp. 1273–1306. [OPEN ACCESS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9DD201-F9DD-4B16-ABAA-0A30DA66F09E}"/>
              </a:ext>
            </a:extLst>
          </p:cNvPr>
          <p:cNvSpPr txBox="1"/>
          <p:nvPr/>
        </p:nvSpPr>
        <p:spPr>
          <a:xfrm>
            <a:off x="583687" y="1144136"/>
            <a:ext cx="4651477" cy="276999"/>
          </a:xfrm>
          <a:prstGeom prst="rect">
            <a:avLst/>
          </a:prstGeom>
          <a:solidFill>
            <a:srgbClr val="1D499B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and feedback to tutors supporting student succes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A885CB1-8F64-4A92-9B02-ABE4E8DBBD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2825" y="3270690"/>
            <a:ext cx="5553451" cy="282543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51BF9D5-63F8-4C7B-A1DE-D804F0033BBC}"/>
              </a:ext>
            </a:extLst>
          </p:cNvPr>
          <p:cNvSpPr txBox="1"/>
          <p:nvPr/>
        </p:nvSpPr>
        <p:spPr>
          <a:xfrm>
            <a:off x="6372814" y="6383851"/>
            <a:ext cx="563119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70">
              <a:defRPr/>
            </a:pPr>
            <a:r>
              <a:rPr lang="en-GB" sz="7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Iraj</a:t>
            </a:r>
            <a:r>
              <a:rPr lang="en-GB" sz="7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, H., Fudge, A., Khan, H., Faulkner, M., Pardo, A., &amp; </a:t>
            </a:r>
            <a:r>
              <a:rPr lang="en-GB" sz="700" dirty="0" err="1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Kovanović</a:t>
            </a:r>
            <a:r>
              <a:rPr lang="en-GB" sz="7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, V. (2021). Narrowing the Feedback Gap: Examining Student Engagement with Personalized and Actionable Feedback Messages. Journal of Learning Analytics, 8(3), 101-116. https://doi.org/10.18608/jla.2021.7184</a:t>
            </a:r>
            <a:endParaRPr lang="en-GB" altLang="en-US" sz="700" dirty="0">
              <a:solidFill>
                <a:srgbClr val="40404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7312B4-DB32-4261-BE7F-AF27C9A2096E}"/>
              </a:ext>
            </a:extLst>
          </p:cNvPr>
          <p:cNvSpPr txBox="1"/>
          <p:nvPr/>
        </p:nvSpPr>
        <p:spPr>
          <a:xfrm>
            <a:off x="7176003" y="1167381"/>
            <a:ext cx="4024812" cy="276999"/>
          </a:xfrm>
          <a:prstGeom prst="rect">
            <a:avLst/>
          </a:prstGeom>
          <a:solidFill>
            <a:srgbClr val="1D499B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r>
              <a:rPr lang="en-GB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and personalised feedback direct to the stud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1B9B5B0-D23E-4F44-AF16-9D65DDA4F2FA}"/>
              </a:ext>
            </a:extLst>
          </p:cNvPr>
          <p:cNvSpPr txBox="1"/>
          <p:nvPr/>
        </p:nvSpPr>
        <p:spPr>
          <a:xfrm>
            <a:off x="6125380" y="1632345"/>
            <a:ext cx="60666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defTabSz="914377">
              <a:buFont typeface="Arial" panose="020B0604020202020204" pitchFamily="34" charset="0"/>
              <a:buChar char="•"/>
            </a:pPr>
            <a:r>
              <a:rPr lang="en-GB" sz="1500" dirty="0">
                <a:solidFill>
                  <a:srgbClr val="000000"/>
                </a:solidFill>
                <a:latin typeface="Arial" panose="020B0604020202020204"/>
              </a:rPr>
              <a:t>Simple non predictive automated messaging from UNISA</a:t>
            </a:r>
          </a:p>
          <a:p>
            <a:pPr defTabSz="914377"/>
            <a:endParaRPr lang="en-GB" sz="1500" dirty="0">
              <a:solidFill>
                <a:srgbClr val="000000"/>
              </a:solidFill>
              <a:latin typeface="Arial" panose="020B0604020202020204"/>
            </a:endParaRPr>
          </a:p>
          <a:p>
            <a:pPr marL="285744" indent="-285744" defTabSz="914377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500" dirty="0">
                <a:solidFill>
                  <a:srgbClr val="000000"/>
                </a:solidFill>
                <a:latin typeface="Arial" panose="020B0604020202020204"/>
              </a:rPr>
              <a:t>Demonstrated early engagement with feedback is positively associated with passing </a:t>
            </a:r>
          </a:p>
          <a:p>
            <a:pPr defTabSz="914377"/>
            <a:endParaRPr lang="en-GB" sz="15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EB23544-5F75-4404-AB35-BB03D70DBCDF}"/>
              </a:ext>
            </a:extLst>
          </p:cNvPr>
          <p:cNvSpPr/>
          <p:nvPr/>
        </p:nvSpPr>
        <p:spPr>
          <a:xfrm>
            <a:off x="6172198" y="3126139"/>
            <a:ext cx="5802087" cy="307600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noFill/>
              <a:latin typeface="Arial" panose="020B060402020202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FAFAD9-77DC-4B39-8FDD-4F3C04D7A868}"/>
              </a:ext>
            </a:extLst>
          </p:cNvPr>
          <p:cNvSpPr txBox="1"/>
          <p:nvPr/>
        </p:nvSpPr>
        <p:spPr>
          <a:xfrm>
            <a:off x="638979" y="1614066"/>
            <a:ext cx="36290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defTabSz="914377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/>
              </a:rPr>
              <a:t>OU Analys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AC024F-21B6-4947-9872-10B22C3327B4}"/>
              </a:ext>
            </a:extLst>
          </p:cNvPr>
          <p:cNvSpPr/>
          <p:nvPr/>
        </p:nvSpPr>
        <p:spPr>
          <a:xfrm>
            <a:off x="586104" y="2125038"/>
            <a:ext cx="4651477" cy="41424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GB" sz="1351">
              <a:noFill/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975306020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38C482AB-BAC2-E441-A751-F7C8FB92E6CB}"/>
              </a:ext>
            </a:extLst>
          </p:cNvPr>
          <p:cNvSpPr txBox="1"/>
          <p:nvPr/>
        </p:nvSpPr>
        <p:spPr>
          <a:xfrm>
            <a:off x="1024703" y="371667"/>
            <a:ext cx="8047483" cy="461665"/>
          </a:xfrm>
          <a:prstGeom prst="rect">
            <a:avLst/>
          </a:prstGeom>
          <a:solidFill>
            <a:srgbClr val="1D499B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en-GB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ing OU Accessibility: SEGA and Admins projec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EC6FAE-7E84-4EDC-9188-B780DFD770FC}"/>
              </a:ext>
            </a:extLst>
          </p:cNvPr>
          <p:cNvSpPr txBox="1"/>
          <p:nvPr/>
        </p:nvSpPr>
        <p:spPr>
          <a:xfrm>
            <a:off x="447365" y="1463530"/>
            <a:ext cx="836643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defTabSz="914377">
              <a:buFont typeface="Arial" panose="020B0604020202020204" pitchFamily="34" charset="0"/>
              <a:buChar char="•"/>
              <a:defRPr/>
            </a:pPr>
            <a:endParaRPr lang="en-GB" sz="2000" dirty="0">
              <a:solidFill>
                <a:srgbClr val="1D499B"/>
              </a:solidFill>
              <a:latin typeface="Arial" panose="020B0604020202020204"/>
            </a:endParaRPr>
          </a:p>
          <a:p>
            <a:pPr defTabSz="914377">
              <a:defRPr/>
            </a:pPr>
            <a:endParaRPr lang="en-GB" sz="2000" dirty="0">
              <a:solidFill>
                <a:srgbClr val="1D499B"/>
              </a:solidFill>
              <a:latin typeface="Arial" panose="020B0604020202020204"/>
            </a:endParaRPr>
          </a:p>
          <a:p>
            <a:pPr marL="285744" indent="-285744" defTabSz="914377">
              <a:buFont typeface="Arial" panose="020B0604020202020204" pitchFamily="34" charset="0"/>
              <a:buChar char="•"/>
              <a:defRPr/>
            </a:pPr>
            <a:endParaRPr lang="en-GB" sz="2000" dirty="0">
              <a:solidFill>
                <a:srgbClr val="1D499B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C17CF56-3200-4063-B2A3-9BC35E829E6E}"/>
              </a:ext>
            </a:extLst>
          </p:cNvPr>
          <p:cNvSpPr txBox="1"/>
          <p:nvPr/>
        </p:nvSpPr>
        <p:spPr>
          <a:xfrm>
            <a:off x="998196" y="1010246"/>
            <a:ext cx="6661133" cy="3218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indent="-342891" defTabSz="1219170">
              <a:spcBef>
                <a:spcPts val="1333"/>
              </a:spcBef>
              <a:buFont typeface="Arial" charset="0"/>
              <a:buChar char="•"/>
            </a:pPr>
            <a:r>
              <a:rPr lang="en-GB" sz="2133" dirty="0">
                <a:solidFill>
                  <a:srgbClr val="32323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aylor  a virtual assistant to support students disclosing disabilities</a:t>
            </a:r>
          </a:p>
          <a:p>
            <a:pPr marL="342891" indent="-342891" defTabSz="1219170">
              <a:spcBef>
                <a:spcPts val="1333"/>
              </a:spcBef>
              <a:buFont typeface="Arial" charset="0"/>
              <a:buChar char="•"/>
            </a:pPr>
            <a:r>
              <a:rPr lang="en-GB" sz="2133" dirty="0">
                <a:solidFill>
                  <a:srgbClr val="32323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tudents talk to ‘Taylor’ through either text or speech.</a:t>
            </a:r>
          </a:p>
          <a:p>
            <a:pPr marL="342891" indent="-342891" defTabSz="1219170">
              <a:spcBef>
                <a:spcPts val="1333"/>
              </a:spcBef>
              <a:buFont typeface="Arial" charset="0"/>
              <a:buChar char="•"/>
            </a:pPr>
            <a:r>
              <a:rPr lang="en-GB" sz="2133" dirty="0">
                <a:solidFill>
                  <a:srgbClr val="32323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rial of 134 students, 65% preferred Taylor to existing form-based process.</a:t>
            </a:r>
          </a:p>
          <a:p>
            <a:pPr marL="342891" indent="-342891" defTabSz="1219170">
              <a:spcBef>
                <a:spcPts val="1333"/>
              </a:spcBef>
              <a:buFont typeface="Arial" charset="0"/>
              <a:buChar char="•"/>
            </a:pPr>
            <a:r>
              <a:rPr lang="en-GB" sz="2133" dirty="0">
                <a:solidFill>
                  <a:srgbClr val="32323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aylor has now been embedded into OU systems across the four nations Over 30 conversations with new students completed in the first two week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21AF19-B645-4EA5-9516-6C9EE28BCA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7514" y="1294829"/>
            <a:ext cx="2739373" cy="275563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FD0502F-D99C-4D72-95E5-D242E4EFE2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77514" y="4263021"/>
            <a:ext cx="2739373" cy="216223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AB03129-F054-4885-B8E9-F13090D340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0215" y="4945469"/>
            <a:ext cx="5348688" cy="180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239094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38C482AB-BAC2-E441-A751-F7C8FB92E6CB}"/>
              </a:ext>
            </a:extLst>
          </p:cNvPr>
          <p:cNvSpPr txBox="1"/>
          <p:nvPr/>
        </p:nvSpPr>
        <p:spPr>
          <a:xfrm>
            <a:off x="447365" y="339770"/>
            <a:ext cx="8047483" cy="461665"/>
          </a:xfrm>
          <a:prstGeom prst="rect">
            <a:avLst/>
          </a:prstGeom>
          <a:solidFill>
            <a:srgbClr val="1D499B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r>
              <a:rPr lang="en-GB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 Tech supporting student feedback during Practice</a:t>
            </a:r>
          </a:p>
        </p:txBody>
      </p:sp>
      <p:pic>
        <p:nvPicPr>
          <p:cNvPr id="1026" name="Picture 2" descr="A VR job interview">
            <a:extLst>
              <a:ext uri="{FF2B5EF4-FFF2-40B4-BE49-F238E27FC236}">
                <a16:creationId xmlns:a16="http://schemas.microsoft.com/office/drawing/2014/main" id="{0375F725-0EEB-49A7-B7F9-5F2168F5FB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0458" y="4531339"/>
            <a:ext cx="3880887" cy="2182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 woman doing a Bodyswaps interview">
            <a:extLst>
              <a:ext uri="{FF2B5EF4-FFF2-40B4-BE49-F238E27FC236}">
                <a16:creationId xmlns:a16="http://schemas.microsoft.com/office/drawing/2014/main" id="{B335160E-C2F8-4FD3-B5B1-1910EE391A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5482" y="2474973"/>
            <a:ext cx="3386469" cy="1904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37D5357-6431-4FB4-90FC-052222196E3B}"/>
              </a:ext>
            </a:extLst>
          </p:cNvPr>
          <p:cNvSpPr txBox="1"/>
          <p:nvPr/>
        </p:nvSpPr>
        <p:spPr>
          <a:xfrm>
            <a:off x="5640572" y="2971800"/>
            <a:ext cx="914400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endParaRPr lang="en-GB" sz="1351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494545-A839-4D45-B437-050009B0F076}"/>
              </a:ext>
            </a:extLst>
          </p:cNvPr>
          <p:cNvSpPr txBox="1"/>
          <p:nvPr/>
        </p:nvSpPr>
        <p:spPr>
          <a:xfrm>
            <a:off x="424083" y="1032440"/>
            <a:ext cx="68802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/>
            <a:r>
              <a:rPr lang="en-GB" altLang="en-US" sz="2800" dirty="0">
                <a:solidFill>
                  <a:srgbClr val="1D499B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roblem: </a:t>
            </a:r>
            <a:r>
              <a:rPr lang="en-GB" altLang="en-US" sz="1351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No feedback during practi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D68F26-D209-47FC-A72A-4E758601E8F0}"/>
              </a:ext>
            </a:extLst>
          </p:cNvPr>
          <p:cNvSpPr txBox="1"/>
          <p:nvPr/>
        </p:nvSpPr>
        <p:spPr>
          <a:xfrm>
            <a:off x="9871950" y="2117455"/>
            <a:ext cx="2394287" cy="113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defTabSz="914377">
              <a:buFont typeface="Arial" panose="020B0604020202020204" pitchFamily="34" charset="0"/>
              <a:buChar char="•"/>
            </a:pPr>
            <a:r>
              <a:rPr lang="en-GB" sz="1351" dirty="0">
                <a:solidFill>
                  <a:srgbClr val="141414"/>
                </a:solidFill>
                <a:latin typeface="ReithSans"/>
              </a:rPr>
              <a:t>Sandwell College in West Bromwich Preferred by students who felt they could be themselves with an avatar.  Rerun of ELIZA!      </a:t>
            </a:r>
            <a:endParaRPr lang="en-GB" sz="1351" dirty="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63E82E-7348-4282-9FA8-2653916E079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7659" y="2172795"/>
            <a:ext cx="3222416" cy="309304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81ED045-CC71-45C0-8268-AF6842B29625}"/>
              </a:ext>
            </a:extLst>
          </p:cNvPr>
          <p:cNvSpPr txBox="1"/>
          <p:nvPr/>
        </p:nvSpPr>
        <p:spPr>
          <a:xfrm>
            <a:off x="6485482" y="1839124"/>
            <a:ext cx="2541183" cy="508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defTabSz="914377">
              <a:buFont typeface="Arial" panose="020B0604020202020204" pitchFamily="34" charset="0"/>
              <a:buChar char="•"/>
            </a:pPr>
            <a:r>
              <a:rPr lang="en-GB" sz="1351" dirty="0">
                <a:solidFill>
                  <a:srgbClr val="141414"/>
                </a:solidFill>
                <a:latin typeface="ReithSans"/>
              </a:rPr>
              <a:t>AI and VR practicing job interview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6E7105-EA77-4CEA-8A99-937A0D2CE219}"/>
              </a:ext>
            </a:extLst>
          </p:cNvPr>
          <p:cNvSpPr txBox="1"/>
          <p:nvPr/>
        </p:nvSpPr>
        <p:spPr>
          <a:xfrm>
            <a:off x="501362" y="5820599"/>
            <a:ext cx="4860125" cy="466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defTabSz="121914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 sz="1351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Coherence   related to mark awarded  now available with Open Essay Optimiser   Whitelock et al (2022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E2B6DE-DC79-40F7-AC40-1F81EE0CE536}"/>
              </a:ext>
            </a:extLst>
          </p:cNvPr>
          <p:cNvSpPr txBox="1"/>
          <p:nvPr/>
        </p:nvSpPr>
        <p:spPr>
          <a:xfrm>
            <a:off x="2480645" y="6432397"/>
            <a:ext cx="4634632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GB" sz="1351" dirty="0">
                <a:solidFill>
                  <a:srgbClr val="476AB7"/>
                </a:solidFill>
                <a:latin typeface="Arial" panose="020B0604020202020204"/>
              </a:rPr>
              <a:t>Reduce Plagiarism - FEEDBACK  FIRS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62E2A6-06DE-4682-A5EB-17C266DB5A87}"/>
              </a:ext>
            </a:extLst>
          </p:cNvPr>
          <p:cNvSpPr txBox="1"/>
          <p:nvPr/>
        </p:nvSpPr>
        <p:spPr>
          <a:xfrm>
            <a:off x="5079682" y="1032440"/>
            <a:ext cx="55615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/>
            <a:r>
              <a:rPr lang="en-GB" altLang="en-US" sz="2800" dirty="0">
                <a:solidFill>
                  <a:srgbClr val="1D499B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olution: </a:t>
            </a:r>
            <a:r>
              <a:rPr lang="en-GB" altLang="en-US" sz="1351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I offering teaching as practice feedback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7ED5FE-2FA6-4712-B9DD-996DB59070ED}"/>
              </a:ext>
            </a:extLst>
          </p:cNvPr>
          <p:cNvSpPr txBox="1"/>
          <p:nvPr/>
        </p:nvSpPr>
        <p:spPr>
          <a:xfrm>
            <a:off x="501362" y="2010443"/>
            <a:ext cx="2104625" cy="2406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defTabSz="121914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 sz="1351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ummarisation  through different visualisations</a:t>
            </a:r>
          </a:p>
          <a:p>
            <a:pPr marL="285744" indent="-285744" defTabSz="121914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 sz="1351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Using Key words and key phrases</a:t>
            </a:r>
          </a:p>
          <a:p>
            <a:pPr marL="285744" indent="-285744" defTabSz="121914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 sz="1351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ean grade for overall module for students in cohort who used Open Essayist (64.2) and students previous cohort (53.7) p0.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17C709-5AFF-4114-A260-188EDF920227}"/>
              </a:ext>
            </a:extLst>
          </p:cNvPr>
          <p:cNvSpPr txBox="1"/>
          <p:nvPr/>
        </p:nvSpPr>
        <p:spPr>
          <a:xfrm>
            <a:off x="2653079" y="5331959"/>
            <a:ext cx="327699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/>
            <a:r>
              <a:rPr lang="en-GB" sz="5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Whitelock, D., Twiner, A., Richardson, J.T.E., Field, D. &amp; Pulman, S. (2018). What does a ‘good’ essay look like? Rainbow diagrams representing essay quality. In: E. Ras &amp; A. Guerrero Roldan (Eds.) Technology Enhanced Assessment (TEA2017). Communications in Computer and Information Science, Springer, Cham, 829, 1-12.</a:t>
            </a:r>
          </a:p>
          <a:p>
            <a:pPr defTabSz="914377"/>
            <a:endParaRPr lang="en-GB" sz="5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73797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126025-9592-6EB3-07DA-C7598BC097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3914" y="220446"/>
            <a:ext cx="10766703" cy="497161"/>
          </a:xfrm>
        </p:spPr>
        <p:txBody>
          <a:bodyPr/>
          <a:lstStyle/>
          <a:p>
            <a:r>
              <a:rPr lang="en-GB" sz="2400" dirty="0"/>
              <a:t>Researcher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68B2D8-CF6F-92FC-970E-38AE2D5280D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915" y="845689"/>
            <a:ext cx="10766703" cy="497160"/>
          </a:xfrm>
        </p:spPr>
        <p:txBody>
          <a:bodyPr/>
          <a:lstStyle/>
          <a:p>
            <a:r>
              <a:rPr lang="en-GB" sz="3600" dirty="0"/>
              <a:t>Short text for illustration of Rainbow Diagrams</a:t>
            </a:r>
          </a:p>
          <a:p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3AB4D7-56C1-A0DB-4B47-35A234051F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1557" y="1783872"/>
            <a:ext cx="14331820" cy="4853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1936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126025-9592-6EB3-07DA-C7598BC097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3914" y="220446"/>
            <a:ext cx="10766703" cy="497161"/>
          </a:xfrm>
        </p:spPr>
        <p:txBody>
          <a:bodyPr/>
          <a:lstStyle/>
          <a:p>
            <a:r>
              <a:rPr lang="en-GB" sz="2400" dirty="0"/>
              <a:t>Researcher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2689D28-330D-7963-ADEA-A87CABB3F8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61758" y="1560072"/>
            <a:ext cx="9635576" cy="5297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99CC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0A7B14-A306-6C88-F61E-D3F8A32D56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4338" y="846138"/>
            <a:ext cx="10766425" cy="496887"/>
          </a:xfrm>
        </p:spPr>
        <p:txBody>
          <a:bodyPr/>
          <a:lstStyle/>
          <a:p>
            <a:r>
              <a:rPr lang="en-GB" sz="3200" dirty="0"/>
              <a:t>Sentence graph of short text</a:t>
            </a:r>
          </a:p>
        </p:txBody>
      </p:sp>
    </p:spTree>
    <p:extLst>
      <p:ext uri="{BB962C8B-B14F-4D97-AF65-F5344CB8AC3E}">
        <p14:creationId xmlns:p14="http://schemas.microsoft.com/office/powerpoint/2010/main" val="12565375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126025-9592-6EB3-07DA-C7598BC097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3914" y="220446"/>
            <a:ext cx="10766703" cy="497161"/>
          </a:xfrm>
        </p:spPr>
        <p:txBody>
          <a:bodyPr/>
          <a:lstStyle/>
          <a:p>
            <a:r>
              <a:rPr lang="en-GB" sz="2400" dirty="0"/>
              <a:t>Researcher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0A7B14-A306-6C88-F61E-D3F8A32D56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4338" y="846138"/>
            <a:ext cx="10766425" cy="496887"/>
          </a:xfrm>
        </p:spPr>
        <p:txBody>
          <a:bodyPr/>
          <a:lstStyle/>
          <a:p>
            <a:r>
              <a:rPr lang="en-GB" sz="3200" dirty="0"/>
              <a:t>Pretend essay: 10 identical paragraphs</a:t>
            </a:r>
          </a:p>
          <a:p>
            <a:endParaRPr lang="en-GB" sz="3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30DCFAC-27D9-3462-FC3C-3042F87FD0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7234" y="1677659"/>
            <a:ext cx="16469786" cy="5165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285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126025-9592-6EB3-07DA-C7598BC097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3914" y="220446"/>
            <a:ext cx="10766703" cy="497161"/>
          </a:xfrm>
        </p:spPr>
        <p:txBody>
          <a:bodyPr/>
          <a:lstStyle/>
          <a:p>
            <a:r>
              <a:rPr lang="en-GB" sz="2400" dirty="0"/>
              <a:t>Researcher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0A7B14-A306-6C88-F61E-D3F8A32D56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4338" y="846138"/>
            <a:ext cx="10766425" cy="496887"/>
          </a:xfrm>
        </p:spPr>
        <p:txBody>
          <a:bodyPr/>
          <a:lstStyle/>
          <a:p>
            <a:r>
              <a:rPr lang="en-GB" sz="3200" dirty="0"/>
              <a:t>Pretend essay: 50 identical sentences</a:t>
            </a:r>
          </a:p>
          <a:p>
            <a:endParaRPr lang="en-GB" sz="3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E3F09D9-B211-9998-20F6-780AFEB733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4838" y="2041072"/>
            <a:ext cx="13676435" cy="4297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6557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126025-9592-6EB3-07DA-C7598BC097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3914" y="220446"/>
            <a:ext cx="10766703" cy="497161"/>
          </a:xfrm>
        </p:spPr>
        <p:txBody>
          <a:bodyPr/>
          <a:lstStyle/>
          <a:p>
            <a:r>
              <a:rPr lang="en-GB" sz="2400" dirty="0"/>
              <a:t>Researcher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0A7B14-A306-6C88-F61E-D3F8A32D56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4338" y="846138"/>
            <a:ext cx="10766425" cy="496887"/>
          </a:xfrm>
        </p:spPr>
        <p:txBody>
          <a:bodyPr/>
          <a:lstStyle/>
          <a:p>
            <a:r>
              <a:rPr lang="en-GB" sz="3200" dirty="0"/>
              <a:t>Stanford University Boothe Prize essay</a:t>
            </a:r>
          </a:p>
          <a:p>
            <a:endParaRPr lang="en-GB" sz="3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38CDD9-49FD-EC74-85BE-558BAAF05E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3443" y="1377667"/>
            <a:ext cx="16510062" cy="5553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3520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6EA782A-65FE-BB0A-8A84-F7337BDDB6C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-430042"/>
            <a:ext cx="10515600" cy="34703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 SemiBold" panose="00000700000000000000" pitchFamily="50" charset="0"/>
                <a:ea typeface="+mj-ea"/>
                <a:cs typeface="Poppins SemiBold" panose="00000700000000000000" pitchFamily="50" charset="0"/>
              </a:rPr>
              <a:t>Slide Title 6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0AD961-3137-7192-2033-E39397DF17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8207" y="0"/>
            <a:ext cx="10774418" cy="1800200"/>
          </a:xfrm>
        </p:spPr>
        <p:txBody>
          <a:bodyPr lIns="91440" tIns="45720" rIns="91440" bIns="45720" anchor="t">
            <a:noAutofit/>
          </a:bodyPr>
          <a:lstStyle/>
          <a:p>
            <a:r>
              <a:rPr lang="en-US" sz="4800" dirty="0">
                <a:latin typeface="Calibri" panose="020F0502020204030204" pitchFamily="34" charset="0"/>
                <a:cs typeface="Times New Roman" panose="02020603050405020304" pitchFamily="18" charset="0"/>
              </a:rPr>
              <a:t>Shaping the Future of Learning with AI:</a:t>
            </a:r>
          </a:p>
          <a:p>
            <a:r>
              <a:rPr lang="en-US" sz="4800" dirty="0">
                <a:latin typeface="Calibri" panose="020F0502020204030204" pitchFamily="34" charset="0"/>
                <a:cs typeface="Times New Roman" panose="02020603050405020304" pitchFamily="18" charset="0"/>
              </a:rPr>
              <a:t>Feedback , Practice,  Personalized Learning</a:t>
            </a:r>
            <a:endParaRPr lang="en-GB" sz="4800" dirty="0">
              <a:latin typeface="Poppins SemiBold"/>
              <a:cs typeface="Poppins SemiBold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35967E-827F-28DD-224A-ACD61DDF89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8674" y="2095037"/>
            <a:ext cx="5079126" cy="3957654"/>
          </a:xfrm>
        </p:spPr>
        <p:txBody>
          <a:bodyPr lIns="91440" tIns="45720" rIns="91440" bIns="45720" anchor="t">
            <a:noAutofit/>
          </a:bodyPr>
          <a:lstStyle/>
          <a:p>
            <a:endParaRPr lang="en-GB" sz="32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200" dirty="0"/>
              <a:t>Students at the Cent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200" dirty="0"/>
              <a:t>Lessons learnt with AI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200" dirty="0"/>
              <a:t>Vision</a:t>
            </a:r>
          </a:p>
          <a:p>
            <a:pPr marL="457200" indent="-457200">
              <a:buChar char="•"/>
            </a:pPr>
            <a:r>
              <a:rPr lang="en-GB" sz="3200" dirty="0"/>
              <a:t>Generative AI</a:t>
            </a:r>
          </a:p>
          <a:p>
            <a:pPr marL="457200" indent="-457200">
              <a:buChar char="•"/>
            </a:pPr>
            <a:r>
              <a:rPr lang="en-GB" sz="3200" dirty="0"/>
              <a:t>21</a:t>
            </a:r>
            <a:r>
              <a:rPr lang="en-GB" sz="3200" baseline="30000" dirty="0"/>
              <a:t>st</a:t>
            </a:r>
            <a:r>
              <a:rPr lang="en-GB" sz="3200" dirty="0"/>
              <a:t> Century skills</a:t>
            </a:r>
          </a:p>
        </p:txBody>
      </p:sp>
      <p:pic>
        <p:nvPicPr>
          <p:cNvPr id="15" name="Picture 14" descr="Timeline&#10;&#10;Description automatically generated">
            <a:extLst>
              <a:ext uri="{FF2B5EF4-FFF2-40B4-BE49-F238E27FC236}">
                <a16:creationId xmlns:a16="http://schemas.microsoft.com/office/drawing/2014/main" id="{8A7800A3-6E66-3F31-7752-DBCB14917A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5478878" y="2095037"/>
            <a:ext cx="6534447" cy="413508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33EE635-3734-7BCC-3C13-64579542CEF0}"/>
              </a:ext>
            </a:extLst>
          </p:cNvPr>
          <p:cNvSpPr txBox="1"/>
          <p:nvPr/>
        </p:nvSpPr>
        <p:spPr>
          <a:xfrm>
            <a:off x="6290440" y="6230117"/>
            <a:ext cx="59015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 tooltip="https://www.ictworks.org/stop-innovation-madness/"/>
              </a:rPr>
              <a:t>This Phot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y Unknown Author is licensed under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 tooltip="https://creativecommons.org/licenses/by-nc-sa/3.0/"/>
              </a:rPr>
              <a:t>CC BY-SA-NC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11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126025-9592-6EB3-07DA-C7598BC097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3914" y="220446"/>
            <a:ext cx="10766703" cy="497161"/>
          </a:xfrm>
        </p:spPr>
        <p:txBody>
          <a:bodyPr/>
          <a:lstStyle/>
          <a:p>
            <a:r>
              <a:rPr lang="en-GB" sz="2400" dirty="0"/>
              <a:t>Researcher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0A7B14-A306-6C88-F61E-D3F8A32D56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4338" y="846138"/>
            <a:ext cx="10766425" cy="496887"/>
          </a:xfrm>
        </p:spPr>
        <p:txBody>
          <a:bodyPr/>
          <a:lstStyle/>
          <a:p>
            <a:r>
              <a:rPr lang="en-GB" altLang="en-US" sz="3200" dirty="0">
                <a:latin typeface="+mn-lt"/>
              </a:rPr>
              <a:t>OU Essay awarded high grade</a:t>
            </a:r>
            <a:endParaRPr lang="en-GB" sz="3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C0D558-BAD1-3244-A9BD-0194BE812D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2428" y="1603768"/>
            <a:ext cx="16889131" cy="5033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04159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126025-9592-6EB3-07DA-C7598BC097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3914" y="220446"/>
            <a:ext cx="10766703" cy="497161"/>
          </a:xfrm>
        </p:spPr>
        <p:txBody>
          <a:bodyPr/>
          <a:lstStyle/>
          <a:p>
            <a:r>
              <a:rPr lang="en-GB" sz="2400" dirty="0"/>
              <a:t>Researcher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0A7B14-A306-6C88-F61E-D3F8A32D56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4338" y="846138"/>
            <a:ext cx="10766425" cy="496887"/>
          </a:xfrm>
        </p:spPr>
        <p:txBody>
          <a:bodyPr/>
          <a:lstStyle/>
          <a:p>
            <a:r>
              <a:rPr lang="en-GB" altLang="en-US" sz="3200" dirty="0">
                <a:latin typeface="+mn-lt"/>
              </a:rPr>
              <a:t>OU essay awarded low grade</a:t>
            </a:r>
            <a:endParaRPr lang="en-GB" sz="3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BD7D5B-C741-5892-E48E-B44B10D16B4C}"/>
              </a:ext>
            </a:extLst>
          </p:cNvPr>
          <p:cNvPicPr>
            <a:picLocks noGrp="1"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135086" y="1527215"/>
            <a:ext cx="16405024" cy="5110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99CC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569417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126025-9592-6EB3-07DA-C7598BC097B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4060" y="240657"/>
            <a:ext cx="10766703" cy="497161"/>
          </a:xfrm>
        </p:spPr>
        <p:txBody>
          <a:bodyPr/>
          <a:lstStyle/>
          <a:p>
            <a:r>
              <a:rPr lang="en-GB" sz="2400" dirty="0"/>
              <a:t>Researcher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0A7B14-A306-6C88-F61E-D3F8A32D56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4060" y="617578"/>
            <a:ext cx="10766425" cy="761072"/>
          </a:xfrm>
        </p:spPr>
        <p:txBody>
          <a:bodyPr/>
          <a:lstStyle/>
          <a:p>
            <a:r>
              <a:rPr lang="en-GB" sz="3200" b="1" dirty="0"/>
              <a:t>Rainbow diagrams related to mark awarded</a:t>
            </a:r>
          </a:p>
          <a:p>
            <a:endParaRPr lang="en-GB" sz="3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541B1D-94ED-2804-80FF-F89BDF7887D6}"/>
              </a:ext>
            </a:extLst>
          </p:cNvPr>
          <p:cNvSpPr txBox="1"/>
          <p:nvPr/>
        </p:nvSpPr>
        <p:spPr>
          <a:xfrm>
            <a:off x="2832538" y="2729789"/>
            <a:ext cx="6274676" cy="3098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E1CE05B-0C81-E26E-CCF2-F521A8391BC3}"/>
              </a:ext>
            </a:extLst>
          </p:cNvPr>
          <p:cNvSpPr txBox="1"/>
          <p:nvPr/>
        </p:nvSpPr>
        <p:spPr>
          <a:xfrm>
            <a:off x="601717" y="1599706"/>
            <a:ext cx="10988565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Font typeface="Arial" charset="0"/>
              <a:buChar char="•"/>
            </a:pPr>
            <a:r>
              <a:rPr lang="en-GB" altLang="en-US" sz="2400" dirty="0"/>
              <a:t>Multivariate analysis of variance on marks awarded to 45 students</a:t>
            </a:r>
          </a:p>
          <a:p>
            <a:pPr>
              <a:buFont typeface="Arial" charset="0"/>
              <a:buChar char="•"/>
            </a:pPr>
            <a:r>
              <a:rPr lang="en-GB" altLang="en-US" sz="2400" dirty="0"/>
              <a:t>Submitted two essays</a:t>
            </a:r>
          </a:p>
          <a:p>
            <a:pPr>
              <a:buFont typeface="Arial" charset="0"/>
              <a:buChar char="•"/>
            </a:pPr>
            <a:r>
              <a:rPr lang="en-GB" altLang="en-US" sz="2400" dirty="0"/>
              <a:t>Rainbow diagrams produced from these essays and rated as high, medium or low attainment</a:t>
            </a:r>
          </a:p>
          <a:p>
            <a:pPr>
              <a:buFont typeface="Arial" charset="0"/>
              <a:buChar char="•"/>
            </a:pPr>
            <a:r>
              <a:rPr lang="en-GB" altLang="en-US" sz="2400" dirty="0"/>
              <a:t>Covariate showed a significant relationship with the marks</a:t>
            </a:r>
          </a:p>
          <a:p>
            <a:pPr>
              <a:buFont typeface="Arial" charset="0"/>
              <a:buChar char="•"/>
            </a:pPr>
            <a:r>
              <a:rPr lang="en-GB" altLang="en-US" sz="2400" dirty="0"/>
              <a:t>F(1, 43) = 5.92, p = .01 using a directional test</a:t>
            </a:r>
          </a:p>
          <a:p>
            <a:pPr>
              <a:buFont typeface="Arial" charset="0"/>
              <a:buChar char="•"/>
            </a:pPr>
            <a:r>
              <a:rPr lang="en-GB" altLang="en-US" sz="2400" dirty="0"/>
              <a:t>Essays rated as high would be expected to receive 8.56 percentage points more than essays rated as medium</a:t>
            </a:r>
          </a:p>
          <a:p>
            <a:pPr>
              <a:buFont typeface="Arial" charset="0"/>
              <a:buChar char="•"/>
            </a:pPr>
            <a:r>
              <a:rPr lang="en-GB" altLang="en-US" sz="2400" dirty="0"/>
              <a:t>17.2 percentage points higher than essays rated from rainbow diagrams as low</a:t>
            </a:r>
          </a:p>
        </p:txBody>
      </p:sp>
    </p:spTree>
    <p:extLst>
      <p:ext uri="{BB962C8B-B14F-4D97-AF65-F5344CB8AC3E}">
        <p14:creationId xmlns:p14="http://schemas.microsoft.com/office/powerpoint/2010/main" val="8369134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black and white logo&#10;&#10;Description automatically generated">
            <a:extLst>
              <a:ext uri="{FF2B5EF4-FFF2-40B4-BE49-F238E27FC236}">
                <a16:creationId xmlns:a16="http://schemas.microsoft.com/office/drawing/2014/main" id="{C7EC7D16-7A72-5F37-BAF7-0CF5E65F22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18438" r="17682"/>
          <a:stretch/>
        </p:blipFill>
        <p:spPr>
          <a:xfrm>
            <a:off x="6096000" y="10"/>
            <a:ext cx="4380854" cy="6857990"/>
          </a:xfrm>
          <a:noFill/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38519A-527C-5A08-9FF6-9E4B53BE03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5016" y="3651046"/>
            <a:ext cx="4380854" cy="1800200"/>
          </a:xfrm>
        </p:spPr>
        <p:txBody>
          <a:bodyPr>
            <a:normAutofit/>
          </a:bodyPr>
          <a:lstStyle/>
          <a:p>
            <a:r>
              <a:rPr lang="en-US" dirty="0"/>
              <a:t>Moving Forwar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8D96E2-33B4-6877-2FBC-F7489E85B7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0296" y="570998"/>
            <a:ext cx="4824413" cy="2439435"/>
          </a:xfrm>
        </p:spPr>
        <p:txBody>
          <a:bodyPr lIns="91440" tIns="45720" rIns="91440" bIns="45720">
            <a:normAutofit fontScale="77500" lnSpcReduction="20000"/>
          </a:bodyPr>
          <a:lstStyle/>
          <a:p>
            <a:r>
              <a:rPr lang="en-GB" dirty="0"/>
              <a:t> </a:t>
            </a:r>
            <a:r>
              <a:rPr lang="en-GB" sz="7100" dirty="0"/>
              <a:t>Generative          Artificial Intelligence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2AA3AD-2D6B-835D-4CF7-1FF2D06F4EB2}"/>
              </a:ext>
            </a:extLst>
          </p:cNvPr>
          <p:cNvSpPr txBox="1"/>
          <p:nvPr/>
        </p:nvSpPr>
        <p:spPr>
          <a:xfrm>
            <a:off x="8290038" y="6657945"/>
            <a:ext cx="2186816" cy="200055"/>
          </a:xfrm>
          <a:prstGeom prst="rect">
            <a:avLst/>
          </a:prstGeom>
          <a:solidFill>
            <a:srgbClr val="000000"/>
          </a:solidFill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GB" sz="700">
                <a:solidFill>
                  <a:srgbClr val="FFFFFF"/>
                </a:solidFill>
                <a:hlinkClick r:id="rId4" tooltip="https://game-icons.net/1x1/lord-berandas/artificial-intelligence.html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is Photo</a:t>
            </a:r>
            <a:r>
              <a:rPr lang="en-GB" sz="700">
                <a:solidFill>
                  <a:srgbClr val="FFFFFF"/>
                </a:solidFill>
              </a:rPr>
              <a:t> by Unknown Author is licensed under </a:t>
            </a:r>
            <a:r>
              <a:rPr lang="en-GB" sz="700">
                <a:solidFill>
                  <a:srgbClr val="FFFFFF"/>
                </a:solidFill>
                <a:hlinkClick r:id="rId5" tooltip="https://creativecommons.org/licenses/by/3.0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</a:t>
            </a:r>
            <a:endParaRPr lang="en-GB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0387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E677D4-AD98-A955-46B5-0C8E5603960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sz="2400" dirty="0"/>
              <a:t>Disrup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2D0B7E-9676-2A18-AF51-E9974234B4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sz="4000" b="1" dirty="0"/>
              <a:t>Generative AI</a:t>
            </a:r>
          </a:p>
        </p:txBody>
      </p:sp>
      <p:pic>
        <p:nvPicPr>
          <p:cNvPr id="3" name="Picture 2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4195E211-3E93-F246-3F00-7E5A434908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77516" y="2159875"/>
            <a:ext cx="5619750" cy="324999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762E93-8CBE-4F57-5D30-15977150C117}"/>
              </a:ext>
            </a:extLst>
          </p:cNvPr>
          <p:cNvSpPr txBox="1"/>
          <p:nvPr/>
        </p:nvSpPr>
        <p:spPr>
          <a:xfrm>
            <a:off x="177516" y="5459467"/>
            <a:ext cx="56197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/>
                <a:ea typeface="+mn-ea"/>
                <a:cs typeface="+mn-cs"/>
                <a:hlinkClick r:id="rId3" tooltip="https://scherlund.blogspot.com/2020/10/shakespeaire-artificial-intelligence.html"/>
              </a:rPr>
              <a:t>This Photo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by Unknown Author is licensed under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/>
                <a:ea typeface="+mn-ea"/>
                <a:cs typeface="+mn-cs"/>
                <a:hlinkClick r:id="rId4" tooltip="https://creativecommons.org/licenses/by/3.0/"/>
              </a:rPr>
              <a:t>CC BY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DAADA0-E30D-CFA5-01B0-903FA4820645}"/>
              </a:ext>
            </a:extLst>
          </p:cNvPr>
          <p:cNvSpPr txBox="1"/>
          <p:nvPr/>
        </p:nvSpPr>
        <p:spPr>
          <a:xfrm>
            <a:off x="6096000" y="155423"/>
            <a:ext cx="5682085" cy="81253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060645"/>
                </a:solidFill>
                <a:latin typeface="Poppins"/>
              </a:rPr>
              <a:t>Generative AI models are trained by toggling ‘weights’ or the strength of connections between different variab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dirty="0">
              <a:solidFill>
                <a:srgbClr val="060645"/>
              </a:solidFill>
              <a:latin typeface="Poppin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060645"/>
                </a:solidFill>
                <a:latin typeface="Poppins"/>
              </a:rPr>
              <a:t>Applied statistics  not such a good term as AI?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an generate academic text rapid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hat GTP 4 Improving but not for journal abstract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Hallucin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dirty="0">
              <a:solidFill>
                <a:srgbClr val="060645"/>
              </a:solidFill>
              <a:latin typeface="Poppin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rgbClr val="060645"/>
                </a:solidFill>
                <a:latin typeface="Poppins"/>
              </a:rPr>
              <a:t>A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moral </a:t>
            </a:r>
            <a:r>
              <a:rPr lang="en-GB" sz="2400" dirty="0">
                <a:solidFill>
                  <a:srgbClr val="060645"/>
                </a:solidFill>
                <a:latin typeface="Poppins"/>
              </a:rPr>
              <a:t> and Biased 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2400" dirty="0">
              <a:solidFill>
                <a:srgbClr val="060645"/>
              </a:solidFill>
              <a:latin typeface="Poppin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20552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2E6409-FDEC-4B83-EA3A-862835C2899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68144" y="249829"/>
            <a:ext cx="11115480" cy="497161"/>
          </a:xfrm>
        </p:spPr>
        <p:txBody>
          <a:bodyPr/>
          <a:lstStyle/>
          <a:p>
            <a:r>
              <a:rPr lang="en-US" dirty="0"/>
              <a:t> IET Curriculum development &amp;  AI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EC003B6-2A0C-2354-41F2-3BA3FA38C1FA}"/>
              </a:ext>
            </a:extLst>
          </p:cNvPr>
          <p:cNvSpPr txBox="1">
            <a:spLocks/>
          </p:cNvSpPr>
          <p:nvPr/>
        </p:nvSpPr>
        <p:spPr>
          <a:xfrm>
            <a:off x="580841" y="2117450"/>
            <a:ext cx="6294972" cy="3927090"/>
          </a:xfrm>
          <a:ln w="44450">
            <a:solidFill>
              <a:schemeClr val="bg2"/>
            </a:solidFill>
          </a:ln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Exploring Generative AI  for short course production.  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Exploring funding options for developing much-needed curriculum around XR, AR &amp; VR, drawing on </a:t>
            </a: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OpenXR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Aptos" panose="02110004020202020204"/>
                <a:ea typeface="+mj-ea"/>
                <a:cs typeface="+mj-cs"/>
              </a:rPr>
              <a:t> Studios facilities.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Aptos" panose="02110004020202020204"/>
              <a:ea typeface="+mj-ea"/>
              <a:cs typeface="+mj-cs"/>
            </a:endParaRPr>
          </a:p>
        </p:txBody>
      </p:sp>
      <p:pic>
        <p:nvPicPr>
          <p:cNvPr id="6" name="Picture 5" descr="A diagram of a flower with text&#10;&#10;Description automatically generated">
            <a:extLst>
              <a:ext uri="{FF2B5EF4-FFF2-40B4-BE49-F238E27FC236}">
                <a16:creationId xmlns:a16="http://schemas.microsoft.com/office/drawing/2014/main" id="{92FED0F2-C505-7010-2754-9761BBC87D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862989" y="1773839"/>
            <a:ext cx="4520635" cy="459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5644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E486F-CA49-12F9-29B1-9FCABF0AA5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3915" y="326028"/>
            <a:ext cx="11559549" cy="497161"/>
          </a:xfrm>
        </p:spPr>
        <p:txBody>
          <a:bodyPr/>
          <a:lstStyle/>
          <a:p>
            <a:r>
              <a:rPr lang="en-GB" dirty="0"/>
              <a:t>AI  and new curriculum  production AI as Co-Collaborato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8A7791-E3CF-4E13-529D-D0AD6339A0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Led by Thomas Ullma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3D65764-9941-ED7A-4012-EBBB1BFEDB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2307771"/>
            <a:ext cx="11843656" cy="496800"/>
          </a:xfrm>
        </p:spPr>
        <p:txBody>
          <a:bodyPr/>
          <a:lstStyle/>
          <a:p>
            <a:r>
              <a:rPr lang="en-GB" dirty="0"/>
              <a:t> </a:t>
            </a:r>
          </a:p>
        </p:txBody>
      </p:sp>
      <p:pic>
        <p:nvPicPr>
          <p:cNvPr id="3" name="Picture 2" descr="A close-up of words&#10;&#10;Description automatically generated with medium confidence">
            <a:extLst>
              <a:ext uri="{FF2B5EF4-FFF2-40B4-BE49-F238E27FC236}">
                <a16:creationId xmlns:a16="http://schemas.microsoft.com/office/drawing/2014/main" id="{605531C7-3D32-274B-1FEB-45E6DD060C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8538507" y="2556171"/>
            <a:ext cx="3789872" cy="328724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C0BEB48-BEE5-9FC4-C54C-35EB50F3C803}"/>
              </a:ext>
            </a:extLst>
          </p:cNvPr>
          <p:cNvSpPr txBox="1"/>
          <p:nvPr/>
        </p:nvSpPr>
        <p:spPr>
          <a:xfrm>
            <a:off x="225931" y="1652164"/>
            <a:ext cx="8573013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Q</a:t>
            </a:r>
            <a:r>
              <a:rPr lang="en-US" sz="1800" b="0" i="0" dirty="0">
                <a:effectLst/>
              </a:rPr>
              <a:t>uality of  dialogue measured  through prompt completions </a:t>
            </a:r>
          </a:p>
          <a:p>
            <a:pPr marL="285750" indent="-285750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0" i="0" dirty="0">
              <a:effectLst/>
            </a:endParaRPr>
          </a:p>
          <a:p>
            <a:pPr marL="285750" indent="-28575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GitHub repository 'Prompts for Education’, include prompt for planning lessons or assignment ideation. </a:t>
            </a:r>
          </a:p>
          <a:p>
            <a:pPr marL="285750" indent="-28575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0" i="0" dirty="0">
              <a:effectLst/>
            </a:endParaRPr>
          </a:p>
          <a:p>
            <a:pPr marL="285750" indent="-285750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P</a:t>
            </a:r>
            <a:r>
              <a:rPr lang="en-US" sz="1800" b="0" i="0" dirty="0">
                <a:effectLst/>
              </a:rPr>
              <a:t>rinciples  for prompting to provide acceptable completion text  :   </a:t>
            </a:r>
            <a:r>
              <a:rPr lang="en-US" sz="1800" dirty="0"/>
              <a:t>Level of detail</a:t>
            </a:r>
            <a:r>
              <a:rPr lang="en-US" sz="1800" b="0" i="0" dirty="0">
                <a:effectLst/>
              </a:rPr>
              <a:t>, examples, splitting complex tasks into several smaller tasks, chain of  thought prompting (i.e.  recipe-like instructions),  adding/repeating instructions at the prompt end </a:t>
            </a:r>
          </a:p>
          <a:p>
            <a:pPr rtl="0" fontAlgn="base">
              <a:lnSpc>
                <a:spcPct val="100000"/>
              </a:lnSpc>
            </a:pPr>
            <a:endParaRPr lang="en-US" sz="1800" b="0" i="0" dirty="0">
              <a:effectLst/>
            </a:endParaRPr>
          </a:p>
          <a:p>
            <a:pPr marL="285750" indent="-285750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GAI can produce content that supports the co-creation of course content. </a:t>
            </a:r>
          </a:p>
          <a:p>
            <a:pPr marL="0" indent="0" rtl="0" fontAlgn="base">
              <a:lnSpc>
                <a:spcPct val="100000"/>
              </a:lnSpc>
              <a:buNone/>
            </a:pPr>
            <a:r>
              <a:rPr lang="en-US" sz="1800" b="0" i="0" dirty="0">
                <a:effectLst/>
              </a:rPr>
              <a:t> </a:t>
            </a:r>
          </a:p>
          <a:p>
            <a:pPr marL="285750" indent="-285750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G</a:t>
            </a:r>
            <a:r>
              <a:rPr lang="en-US" sz="1800" b="0" i="0" dirty="0">
                <a:effectLst/>
              </a:rPr>
              <a:t>AI  aids with brainstorming ideas, creating an outline, assessing adherence to specific writing guidance (such as readability and inclusive language).</a:t>
            </a:r>
          </a:p>
          <a:p>
            <a:pPr marL="285750" indent="-285750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800" b="0" i="0" dirty="0">
              <a:effectLst/>
            </a:endParaRPr>
          </a:p>
          <a:p>
            <a:pPr marL="285750" indent="-285750" rtl="0" fontAlgn="base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O</a:t>
            </a:r>
            <a:r>
              <a:rPr lang="en-US" sz="1800" b="0" i="0" dirty="0">
                <a:effectLst/>
              </a:rPr>
              <a:t>utputs need to be verified by topic experts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87946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7F7117-4A31-E337-8EE9-C241F2E12E9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3915" y="26286"/>
            <a:ext cx="10766703" cy="497161"/>
          </a:xfrm>
        </p:spPr>
        <p:txBody>
          <a:bodyPr/>
          <a:lstStyle/>
          <a:p>
            <a:r>
              <a:rPr lang="en-GB" dirty="0"/>
              <a:t>Question Answer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A971D6-B28D-A18B-ADF2-6F0DD0248BD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13915" y="457300"/>
            <a:ext cx="11145481" cy="753728"/>
          </a:xfrm>
        </p:spPr>
        <p:txBody>
          <a:bodyPr/>
          <a:lstStyle/>
          <a:p>
            <a:r>
              <a:rPr lang="en-GB" sz="2800" dirty="0"/>
              <a:t>Version trained on Psychology Methods and Skills OU course</a:t>
            </a:r>
          </a:p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1EEE79-932D-ECD4-AE80-53309F9B82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6337" y="2228586"/>
            <a:ext cx="6561531" cy="453698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3F79186-691C-4D35-51FF-F987C401EA7A}"/>
              </a:ext>
            </a:extLst>
          </p:cNvPr>
          <p:cNvSpPr txBox="1"/>
          <p:nvPr/>
        </p:nvSpPr>
        <p:spPr>
          <a:xfrm>
            <a:off x="1506747" y="1548637"/>
            <a:ext cx="8177841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ctured vs unstructured interview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0C6A1D6-BC66-A13C-9CEF-11C5D8F2806E}"/>
              </a:ext>
            </a:extLst>
          </p:cNvPr>
          <p:cNvSpPr txBox="1"/>
          <p:nvPr/>
        </p:nvSpPr>
        <p:spPr>
          <a:xfrm>
            <a:off x="9086930" y="4847698"/>
            <a:ext cx="31050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roject lead: John Dominque (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Kmi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)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The Open Univers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28887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E486F-CA49-12F9-29B1-9FCABF0AA5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sz="3200" dirty="0">
                <a:latin typeface="Arial" panose="020B0604020202020204" pitchFamily="34" charset="0"/>
                <a:cs typeface="Arial" panose="020B0604020202020204" pitchFamily="34" charset="0"/>
              </a:rPr>
              <a:t>Ai and new curriculum production</a:t>
            </a:r>
            <a:endParaRPr lang="en-GB" sz="3200" dirty="0"/>
          </a:p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8A7791-E3CF-4E13-529D-D0AD6339A0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Journal and Conference Paper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3D65764-9941-ED7A-4012-EBBB1BFEDB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15" y="1970885"/>
            <a:ext cx="11041811" cy="4561087"/>
          </a:xfrm>
        </p:spPr>
        <p:txBody>
          <a:bodyPr/>
          <a:lstStyle/>
          <a:p>
            <a:r>
              <a:rPr lang="en-US" sz="2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Rienties, B., Domingue, J., Duttaroy, S., </a:t>
            </a:r>
            <a:r>
              <a:rPr lang="en-US" sz="2400" b="0" i="0" dirty="0" err="1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Herodotou</a:t>
            </a:r>
            <a:r>
              <a:rPr lang="en-US" sz="2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, C., </a:t>
            </a:r>
            <a:r>
              <a:rPr lang="en-US" sz="2400" b="0" i="0" dirty="0" err="1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Tessarolo</a:t>
            </a:r>
            <a:r>
              <a:rPr lang="en-US" sz="2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, F., &amp; Whitelock, D. (2024). I would love this to be like an assistant, not the teacher: a voice of the customer perspective of what distance learning students want from an Artificial Intelligence Digital Assistant. </a:t>
            </a:r>
            <a:r>
              <a:rPr lang="en-US" sz="2400" b="0" i="1" dirty="0" err="1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arXiv</a:t>
            </a:r>
            <a:r>
              <a:rPr lang="en-US" sz="2400" b="0" i="1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 preprint arXiv:2403.15396</a:t>
            </a:r>
            <a:r>
              <a:rPr lang="en-US" sz="2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</a:rPr>
              <a:t>. </a:t>
            </a:r>
            <a:r>
              <a:rPr lang="en-US" sz="2400" b="0" i="0" u="sng" strike="noStrike" dirty="0">
                <a:solidFill>
                  <a:srgbClr val="0563C1"/>
                </a:solidFill>
                <a:effectLst/>
                <a:latin typeface="Calibri" panose="020F0502020204030204" pitchFamily="34" charset="0"/>
                <a:hlinkClick r:id="rId3"/>
              </a:rPr>
              <a:t>https://arxiv.org/abs/2</a:t>
            </a:r>
          </a:p>
          <a:p>
            <a:r>
              <a:rPr lang="en-US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 Ullman,T.,Bektik,D.,Edwards,C.,Herodutu,C.,</a:t>
            </a:r>
            <a:r>
              <a:rPr lang="en-US" sz="2400" b="0" i="0" dirty="0" err="1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Whitelock,D</a:t>
            </a:r>
            <a:r>
              <a:rPr lang="en-US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.,(2024)Teaching with Generative AI: Moving Forward with Content Creation. EDEN 24 Annual Conference, Graz ,Au</a:t>
            </a:r>
          </a:p>
          <a:p>
            <a:r>
              <a:rPr lang="en-US" sz="2400" b="0" i="0" dirty="0" err="1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Bektik,D</a:t>
            </a:r>
            <a:r>
              <a:rPr lang="en-US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., Ullman,T.,Edwards,C.,Herodutu,C.,</a:t>
            </a:r>
            <a:r>
              <a:rPr lang="en-US" sz="2400" b="0" i="0" dirty="0" err="1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Whitelock,D</a:t>
            </a:r>
            <a:r>
              <a:rPr lang="en-US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.,(2024) </a:t>
            </a:r>
            <a:r>
              <a:rPr lang="uz-Cyrl-UZ" sz="2400" dirty="0">
                <a:solidFill>
                  <a:srgbClr val="000000"/>
                </a:solidFill>
                <a:effectLst/>
                <a:latin typeface="Memento"/>
                <a:ea typeface="Memento"/>
                <a:cs typeface="Memento"/>
              </a:rPr>
              <a:t>AI-Powered Curricula: Unpacking the Potential and Progress of Generative Technologies in Education </a:t>
            </a:r>
            <a:r>
              <a:rPr lang="en-US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EDEN 24 Annual Conference, Graz ,Au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8460024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1CA3D26-5CEF-5CAA-C464-E689176369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80659" y="993078"/>
            <a:ext cx="4128571" cy="416802"/>
          </a:xfrm>
        </p:spPr>
        <p:txBody>
          <a:bodyPr/>
          <a:lstStyle/>
          <a:p>
            <a:r>
              <a:rPr lang="en-GB" sz="2800" dirty="0"/>
              <a:t>Opportuniti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4F4BAC-5B2A-A575-3F7D-E9264AC113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75355" y="912168"/>
            <a:ext cx="4128571" cy="497712"/>
          </a:xfrm>
        </p:spPr>
        <p:txBody>
          <a:bodyPr/>
          <a:lstStyle/>
          <a:p>
            <a:r>
              <a:rPr lang="en-GB" sz="2800" dirty="0"/>
              <a:t>Challeng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C7FADF-26C0-3DC9-306D-9499FBCD07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sz="3200" b="0" dirty="0">
                <a:latin typeface="Abadi" panose="020B0604020104020204" pitchFamily="34" charset="0"/>
              </a:rPr>
              <a:t>Opportunities and Challenges 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BA60A0-F9D4-6A39-0535-C594AB1B676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400" dirty="0"/>
              <a:t>                                             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1D52283-3764-9499-ED55-A9751DC050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5415" y="1470491"/>
            <a:ext cx="5903758" cy="486602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Assessment chang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Prompt Pedagog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Collaborative design for project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Personal tuto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Guidelines and policies for staff and stud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AI literacy for students and staff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More pedagogical research with teachers influencing  new developmen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A824092-BBD4-6BF9-189F-7798175A5B63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774589" y="1467742"/>
            <a:ext cx="5051136" cy="422555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Lack of Ethic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Bias concer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Digital inclusion with equitable outcome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Not caring as a personal tuto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50% of the population younger than 30 years tools will be ubiquitou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Lethargic  Cognition</a:t>
            </a:r>
          </a:p>
          <a:p>
            <a:pPr marL="0" indent="0">
              <a:buNone/>
            </a:pPr>
            <a:endParaRPr lang="en-GB" sz="2400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9706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2ABF7F0A-0E79-E337-607B-B1AC97D6BB5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3578"/>
          <a:stretch/>
        </p:blipFill>
        <p:spPr>
          <a:xfrm>
            <a:off x="6096000" y="10"/>
            <a:ext cx="4380854" cy="6857990"/>
          </a:xfr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8D96E2-33B4-6877-2FBC-F7489E85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6255" y="559121"/>
            <a:ext cx="5570543" cy="2195954"/>
          </a:xfrm>
        </p:spPr>
        <p:txBody>
          <a:bodyPr lIns="91440" tIns="45720" rIns="91440" bIns="45720">
            <a:normAutofit/>
          </a:bodyPr>
          <a:lstStyle/>
          <a:p>
            <a:r>
              <a:rPr lang="en-GB" sz="3600" dirty="0"/>
              <a:t>Digital Ecosystem at the Institute of Educational Technology</a:t>
            </a:r>
          </a:p>
          <a:p>
            <a:endParaRPr lang="en-GB" sz="3000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CC895E8-4C88-E4F2-7C21-FA168153F1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8207" y="3278962"/>
            <a:ext cx="4824413" cy="243943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Research</a:t>
            </a:r>
          </a:p>
          <a:p>
            <a:pPr>
              <a:lnSpc>
                <a:spcPct val="100000"/>
              </a:lnSpc>
            </a:pPr>
            <a:r>
              <a:rPr lang="en-US" dirty="0"/>
              <a:t>Teaching </a:t>
            </a:r>
          </a:p>
          <a:p>
            <a:pPr>
              <a:lnSpc>
                <a:spcPct val="100000"/>
              </a:lnSpc>
            </a:pPr>
            <a:r>
              <a:rPr lang="en-US" dirty="0"/>
              <a:t>Quality Enhancement and Innov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ADA813-9F18-4DB1-AAD2-22E3D240A1AD}"/>
              </a:ext>
            </a:extLst>
          </p:cNvPr>
          <p:cNvSpPr txBox="1"/>
          <p:nvPr/>
        </p:nvSpPr>
        <p:spPr>
          <a:xfrm>
            <a:off x="8169812" y="6657945"/>
            <a:ext cx="2307042" cy="200055"/>
          </a:xfrm>
          <a:prstGeom prst="rect">
            <a:avLst/>
          </a:prstGeom>
          <a:solidFill>
            <a:srgbClr val="000000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 tooltip="https://www.flickr.com/photos/indissoluble/810278505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is Photo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y Unknown Author is licensed under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 tooltip="https://creativecommons.org/licenses/by-sa/3.0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-SA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5411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football ball in a goal&#10;&#10;Description automatically generated">
            <a:extLst>
              <a:ext uri="{FF2B5EF4-FFF2-40B4-BE49-F238E27FC236}">
                <a16:creationId xmlns:a16="http://schemas.microsoft.com/office/drawing/2014/main" id="{8268B189-9872-77AB-0E09-666036806D7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8840" r="28839" b="-1"/>
          <a:stretch/>
        </p:blipFill>
        <p:spPr>
          <a:xfrm>
            <a:off x="6096000" y="10"/>
            <a:ext cx="4380854" cy="6857990"/>
          </a:xfr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8D96E2-33B4-6877-2FBC-F7489E85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8207" y="559120"/>
            <a:ext cx="5328592" cy="2869879"/>
          </a:xfrm>
        </p:spPr>
        <p:txBody>
          <a:bodyPr lIns="91440" tIns="45720" rIns="91440" bIns="45720">
            <a:noAutofit/>
          </a:bodyPr>
          <a:lstStyle/>
          <a:p>
            <a:r>
              <a:rPr lang="en-GB" sz="6600" dirty="0"/>
              <a:t>Vision for AI and Learning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CC895E8-4C88-E4F2-7C21-FA168153F1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8207" y="3790875"/>
            <a:ext cx="4824413" cy="2439435"/>
          </a:xfrm>
        </p:spPr>
        <p:txBody>
          <a:bodyPr/>
          <a:lstStyle/>
          <a:p>
            <a:r>
              <a:rPr lang="en-US" sz="5400" dirty="0"/>
              <a:t>Problem through to Solution</a:t>
            </a:r>
          </a:p>
        </p:txBody>
      </p:sp>
    </p:spTree>
    <p:extLst>
      <p:ext uri="{BB962C8B-B14F-4D97-AF65-F5344CB8AC3E}">
        <p14:creationId xmlns:p14="http://schemas.microsoft.com/office/powerpoint/2010/main" val="38390113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0DB3BF-DDEE-76BF-A67B-6B750158ECD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/>
              <a:t>Bloom's 2 sigma problem</a:t>
            </a:r>
          </a:p>
        </p:txBody>
      </p:sp>
      <p:pic>
        <p:nvPicPr>
          <p:cNvPr id="1026" name="Picture 2" descr="How Startups Are Solving A Decades-Old Problem In Education | Mastery ...">
            <a:extLst>
              <a:ext uri="{FF2B5EF4-FFF2-40B4-BE49-F238E27FC236}">
                <a16:creationId xmlns:a16="http://schemas.microsoft.com/office/drawing/2014/main" id="{37B8A5FD-C867-27AF-EA24-0B96DA7F4E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4640" y="1244403"/>
            <a:ext cx="7671118" cy="5208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AEF907-68F1-5B1D-A40B-192E5A2E67B0}"/>
              </a:ext>
            </a:extLst>
          </p:cNvPr>
          <p:cNvSpPr txBox="1"/>
          <p:nvPr/>
        </p:nvSpPr>
        <p:spPr>
          <a:xfrm>
            <a:off x="2407654" y="6628456"/>
            <a:ext cx="826034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https://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www.pinterest.co.uk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/pin/how-startups-are-solving-a-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decadesold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-problem-in-education--355643701810297990/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4B0866-2E7C-C293-A3E6-2F42952F620A}"/>
              </a:ext>
            </a:extLst>
          </p:cNvPr>
          <p:cNvSpPr txBox="1"/>
          <p:nvPr/>
        </p:nvSpPr>
        <p:spPr>
          <a:xfrm>
            <a:off x="502022" y="1084219"/>
            <a:ext cx="9717742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60645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"the average tutored student was above 98% of the students in the control class"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60645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07786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holding a tablet&#10;&#10;Description automatically generated">
            <a:extLst>
              <a:ext uri="{FF2B5EF4-FFF2-40B4-BE49-F238E27FC236}">
                <a16:creationId xmlns:a16="http://schemas.microsoft.com/office/drawing/2014/main" id="{8AA9D36A-A63D-ADEE-F1EE-C05C4728D73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34249" r="23111" b="-1"/>
          <a:stretch/>
        </p:blipFill>
        <p:spPr>
          <a:xfrm>
            <a:off x="6096000" y="10"/>
            <a:ext cx="4380854" cy="6857990"/>
          </a:xfrm>
          <a:prstGeom prst="round2SameRect">
            <a:avLst>
              <a:gd name="adj1" fmla="val 42678"/>
              <a:gd name="adj2" fmla="val 4847"/>
            </a:avLst>
          </a:prstGeom>
          <a:noFill/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7E94204-B98C-A03D-F727-3BFA67EFB3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8207" y="179559"/>
            <a:ext cx="5328592" cy="1800200"/>
          </a:xfrm>
        </p:spPr>
        <p:txBody>
          <a:bodyPr>
            <a:normAutofit/>
          </a:bodyPr>
          <a:lstStyle/>
          <a:p>
            <a:r>
              <a:rPr lang="en-GB" sz="4300" b="1" i="0" kern="1200" dirty="0">
                <a:ln>
                  <a:noFill/>
                </a:ln>
                <a:latin typeface="Poppins SemiBold" pitchFamily="2" charset="77"/>
                <a:ea typeface="+mn-ea"/>
                <a:cs typeface="Poppins SemiBold" pitchFamily="2" charset="77"/>
              </a:rPr>
              <a:t>Research Agenda for </a:t>
            </a:r>
            <a:r>
              <a:rPr lang="en-GB" sz="4300" b="1" i="0" kern="1200" dirty="0" err="1">
                <a:ln>
                  <a:noFill/>
                </a:ln>
                <a:latin typeface="Poppins SemiBold" pitchFamily="2" charset="77"/>
                <a:ea typeface="+mn-ea"/>
                <a:cs typeface="Poppins SemiBold" pitchFamily="2" charset="77"/>
              </a:rPr>
              <a:t>GenAI</a:t>
            </a:r>
            <a:endParaRPr lang="en-GB" sz="4300" b="1" i="0" kern="1200" dirty="0">
              <a:ln>
                <a:noFill/>
              </a:ln>
              <a:latin typeface="Poppins SemiBold" pitchFamily="2" charset="77"/>
              <a:ea typeface="+mn-ea"/>
              <a:cs typeface="Poppins SemiBold" pitchFamily="2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700B40-EF5D-4927-51EA-3EBF979CC3C9}"/>
              </a:ext>
            </a:extLst>
          </p:cNvPr>
          <p:cNvSpPr txBox="1"/>
          <p:nvPr/>
        </p:nvSpPr>
        <p:spPr>
          <a:xfrm>
            <a:off x="408207" y="1565034"/>
            <a:ext cx="4824413" cy="372793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>
              <a:spcBef>
                <a:spcPts val="1000"/>
              </a:spcBef>
            </a:pPr>
            <a:r>
              <a:rPr lang="en-GB" b="0" i="0" kern="1200" dirty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igorous  systematic investigations required</a:t>
            </a:r>
          </a:p>
          <a:p>
            <a:pPr>
              <a:spcBef>
                <a:spcPts val="1000"/>
              </a:spcBef>
            </a:pPr>
            <a:r>
              <a:rPr lang="en-GB" b="0" i="0" kern="1200" dirty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Integration AI Tools  means re-evaluation of Course Design</a:t>
            </a:r>
          </a:p>
          <a:p>
            <a:pPr>
              <a:spcBef>
                <a:spcPts val="1000"/>
              </a:spcBef>
            </a:pPr>
            <a:r>
              <a:rPr lang="en-GB" b="0" i="0" kern="1200" dirty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uidelines : Academic Integrity, Assessment Design, communicating with students</a:t>
            </a:r>
          </a:p>
          <a:p>
            <a:pPr>
              <a:spcBef>
                <a:spcPts val="1000"/>
              </a:spcBef>
            </a:pPr>
            <a:r>
              <a:rPr lang="en-GB" b="0" i="0" kern="1200" dirty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mpt engineering/Prompt Pedagogy </a:t>
            </a:r>
          </a:p>
          <a:p>
            <a:pPr>
              <a:spcBef>
                <a:spcPts val="1000"/>
              </a:spcBef>
            </a:pPr>
            <a:r>
              <a:rPr lang="en-GB" b="0" i="0" kern="1200" dirty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What corpuses are required for accurate personalised Learning?</a:t>
            </a:r>
          </a:p>
          <a:p>
            <a:pPr>
              <a:spcBef>
                <a:spcPts val="1000"/>
              </a:spcBef>
            </a:pPr>
            <a:r>
              <a:rPr lang="en-GB" b="0" i="0" kern="1200" dirty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mmercial value of Corpus</a:t>
            </a:r>
          </a:p>
          <a:p>
            <a:pPr>
              <a:spcBef>
                <a:spcPts val="1000"/>
              </a:spcBef>
            </a:pPr>
            <a:r>
              <a:rPr lang="en-GB" b="0" i="0" kern="1200" dirty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thics</a:t>
            </a:r>
          </a:p>
          <a:p>
            <a:pPr>
              <a:spcBef>
                <a:spcPts val="1000"/>
              </a:spcBef>
            </a:pPr>
            <a:r>
              <a:rPr lang="en-GB" b="0" i="0" kern="1200" dirty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cale and student agreement</a:t>
            </a:r>
          </a:p>
          <a:p>
            <a:pPr>
              <a:spcBef>
                <a:spcPts val="1000"/>
              </a:spcBef>
            </a:pPr>
            <a:r>
              <a:rPr lang="en-GB" b="0" i="0" kern="1200" dirty="0">
                <a:ln>
                  <a:noFill/>
                </a:ln>
                <a:solidFill>
                  <a:schemeClr val="bg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uture Skills preparing students for employm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976424-C292-ECE5-933F-2C58F3CA42B5}"/>
              </a:ext>
            </a:extLst>
          </p:cNvPr>
          <p:cNvSpPr txBox="1"/>
          <p:nvPr/>
        </p:nvSpPr>
        <p:spPr>
          <a:xfrm>
            <a:off x="8017527" y="6657945"/>
            <a:ext cx="2459327" cy="200055"/>
          </a:xfrm>
          <a:prstGeom prst="rect">
            <a:avLst/>
          </a:prstGeom>
          <a:solidFill>
            <a:srgbClr val="000000"/>
          </a:solidFill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GB" sz="700">
                <a:solidFill>
                  <a:srgbClr val="FFFFFF"/>
                </a:solidFill>
                <a:hlinkClick r:id="rId4" tooltip="https://www.i-tecnico.pt/openai-anuncia-o-novo-gpt-4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is Photo</a:t>
            </a:r>
            <a:r>
              <a:rPr lang="en-GB" sz="700">
                <a:solidFill>
                  <a:srgbClr val="FFFFFF"/>
                </a:solidFill>
              </a:rPr>
              <a:t> by Unknown Author is licensed under </a:t>
            </a:r>
            <a:r>
              <a:rPr lang="en-GB" sz="700">
                <a:solidFill>
                  <a:srgbClr val="FFFFFF"/>
                </a:solidFill>
                <a:hlinkClick r:id="rId5" tooltip="https://creativecommons.org/licenses/by-nc-nd/3.0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-NC-ND</a:t>
            </a:r>
            <a:endParaRPr lang="en-GB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7879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2D0B7E-9676-2A18-AF51-E9974234B4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24728" y="302734"/>
            <a:ext cx="10766703" cy="866679"/>
          </a:xfrm>
        </p:spPr>
        <p:txBody>
          <a:bodyPr/>
          <a:lstStyle/>
          <a:p>
            <a:r>
              <a:rPr lang="en-GB" altLang="en-US" sz="2800" b="1" dirty="0"/>
              <a:t>Grand Challenge: what  does it mean to assess  human learning  that can be readily understood by students and teachers? </a:t>
            </a:r>
            <a:endParaRPr lang="en-GB" sz="3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6A9A445-DB75-D4E7-9CB0-CF4989EAE9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47" y="1800571"/>
            <a:ext cx="8313850" cy="49365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605021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B06E5B-D0A2-FD17-12DB-3E8FFA263BF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-425903"/>
            <a:ext cx="10515600" cy="34703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oppins SemiBold" panose="00000700000000000000" pitchFamily="50" charset="0"/>
                <a:ea typeface="+mj-ea"/>
                <a:cs typeface="Poppins SemiBold" panose="00000700000000000000" pitchFamily="50" charset="0"/>
              </a:rPr>
              <a:t>Slide Title 31</a:t>
            </a:r>
          </a:p>
        </p:txBody>
      </p:sp>
    </p:spTree>
    <p:extLst>
      <p:ext uri="{BB962C8B-B14F-4D97-AF65-F5344CB8AC3E}">
        <p14:creationId xmlns:p14="http://schemas.microsoft.com/office/powerpoint/2010/main" val="2073721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D898F5-E240-8EF3-B33A-1BD522EF34B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4541" y="1942920"/>
            <a:ext cx="6382645" cy="4589051"/>
          </a:xfrm>
        </p:spPr>
        <p:txBody>
          <a:bodyPr lIns="91440" tIns="45720" rIns="91440" bIns="45720" anchor="t">
            <a:noAutofit/>
          </a:bodyPr>
          <a:lstStyle/>
          <a:p>
            <a:pPr marL="342900" marR="0" lvl="0" indent="-3429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search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drives internal and external innovation, supported by KE work.</a:t>
            </a:r>
          </a:p>
          <a:p>
            <a:pPr marL="342900" marR="0" lvl="0" indent="-3429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  <a:p>
            <a:pPr marL="342900" marR="0" lvl="0" indent="-3429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novative Curriculum 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stantiates and tests research outcomes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. </a:t>
            </a:r>
          </a:p>
          <a:p>
            <a:pPr marL="342900" marR="0" lvl="0" indent="-3429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  <a:p>
            <a:pPr marL="342900" marR="0" lvl="0" indent="-3429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novation in EdTech 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valuates and feeds innovative curriculum and offers opportunities for Research proposals for further funding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E486F-CA49-12F9-29B1-9FCABF0AA5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sz="28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ET  Innovation through pedagogically driven technology</a:t>
            </a:r>
            <a:endParaRPr lang="en-GB" sz="2800" dirty="0"/>
          </a:p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F29B0F-4B56-4C32-8223-AB13FC5DFE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1350" y="2004580"/>
            <a:ext cx="4006109" cy="3990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013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erson and person holding books and smiling&#10;&#10;Description automatically generated">
            <a:extLst>
              <a:ext uri="{FF2B5EF4-FFF2-40B4-BE49-F238E27FC236}">
                <a16:creationId xmlns:a16="http://schemas.microsoft.com/office/drawing/2014/main" id="{CC68445E-431E-B319-0CAE-D3469CB7E16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r="1" b="25869"/>
          <a:stretch/>
        </p:blipFill>
        <p:spPr>
          <a:xfrm>
            <a:off x="5533698" y="458433"/>
            <a:ext cx="4067271" cy="5941134"/>
          </a:xfr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8D96E2-33B4-6877-2FBC-F7489E85B7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8207" y="559121"/>
            <a:ext cx="5328592" cy="1800200"/>
          </a:xfrm>
        </p:spPr>
        <p:txBody>
          <a:bodyPr lIns="91440" tIns="45720" rIns="91440" bIns="45720">
            <a:noAutofit/>
          </a:bodyPr>
          <a:lstStyle/>
          <a:p>
            <a:r>
              <a:rPr lang="en-GB" sz="7200" dirty="0"/>
              <a:t>Students</a:t>
            </a:r>
          </a:p>
          <a:p>
            <a:r>
              <a:rPr lang="en-GB" sz="7200" dirty="0"/>
              <a:t>Matter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CC895E8-4C88-E4F2-7C21-FA168153F1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2349" y="3156890"/>
            <a:ext cx="4721350" cy="2439435"/>
          </a:xfrm>
        </p:spPr>
        <p:txBody>
          <a:bodyPr>
            <a:noAutofit/>
          </a:bodyPr>
          <a:lstStyle/>
          <a:p>
            <a:r>
              <a:rPr lang="en-US" sz="3600" dirty="0"/>
              <a:t>Assessment </a:t>
            </a:r>
          </a:p>
          <a:p>
            <a:r>
              <a:rPr lang="en-US" sz="3600" dirty="0"/>
              <a:t>Feedback </a:t>
            </a:r>
          </a:p>
          <a:p>
            <a:r>
              <a:rPr lang="en-US" sz="3600" dirty="0"/>
              <a:t>Practice </a:t>
            </a:r>
          </a:p>
          <a:p>
            <a:r>
              <a:rPr lang="en-US" sz="3600" dirty="0"/>
              <a:t>Learning 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34EE27-D919-D557-AB12-F3A16CEAC560}"/>
              </a:ext>
            </a:extLst>
          </p:cNvPr>
          <p:cNvSpPr txBox="1"/>
          <p:nvPr/>
        </p:nvSpPr>
        <p:spPr>
          <a:xfrm>
            <a:off x="6678430" y="6399567"/>
            <a:ext cx="2319866" cy="200055"/>
          </a:xfrm>
          <a:prstGeom prst="rect">
            <a:avLst/>
          </a:prstGeom>
          <a:solidFill>
            <a:srgbClr val="000000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 tooltip="https://www.pngall.com/college-png/download/7005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is Photo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y Unknown Author is licensed under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 tooltip="https://creativecommons.org/licenses/by-nc/3.0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-NC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65373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E677D4-AD98-A955-46B5-0C8E5603960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3915" y="120885"/>
            <a:ext cx="10766703" cy="497161"/>
          </a:xfrm>
        </p:spPr>
        <p:txBody>
          <a:bodyPr/>
          <a:lstStyle/>
          <a:p>
            <a:r>
              <a:rPr lang="en-GB" sz="2400" dirty="0"/>
              <a:t>Stud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2D0B7E-9676-2A18-AF51-E9974234B4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914" y="473390"/>
            <a:ext cx="10766703" cy="497161"/>
          </a:xfrm>
        </p:spPr>
        <p:txBody>
          <a:bodyPr/>
          <a:lstStyle/>
          <a:p>
            <a:r>
              <a:rPr lang="en-GB" sz="3200" dirty="0"/>
              <a:t>Students Feelings about Assessments</a:t>
            </a:r>
          </a:p>
        </p:txBody>
      </p:sp>
      <p:pic>
        <p:nvPicPr>
          <p:cNvPr id="2" name="Picture 2" descr="crop0024">
            <a:extLst>
              <a:ext uri="{FF2B5EF4-FFF2-40B4-BE49-F238E27FC236}">
                <a16:creationId xmlns:a16="http://schemas.microsoft.com/office/drawing/2014/main" id="{FD86584F-B470-C6E6-2F7B-65B2F79CB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066" y="970551"/>
            <a:ext cx="8080485" cy="5887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32654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165600" y="6229351"/>
            <a:ext cx="38608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buClr>
                <a:srgbClr val="F81504"/>
              </a:buClr>
              <a:buFont typeface="Wingdings 3" pitchFamily="18" charset="2"/>
              <a:buChar char=""/>
              <a:defRPr sz="3200">
                <a:solidFill>
                  <a:srgbClr val="00008C"/>
                </a:solidFill>
                <a:latin typeface="Arial" pitchFamily="34" charset="0"/>
              </a:defRPr>
            </a:lvl1pPr>
            <a:lvl2pPr marL="990575" indent="-380990" algn="l" eaLnBrk="0" hangingPunct="0">
              <a:spcBef>
                <a:spcPct val="30000"/>
              </a:spcBef>
              <a:buClr>
                <a:srgbClr val="660066"/>
              </a:buClr>
              <a:buSzPct val="110000"/>
              <a:buFont typeface="Wingdings 3" pitchFamily="18" charset="2"/>
              <a:buChar char=""/>
              <a:defRPr sz="3200">
                <a:solidFill>
                  <a:srgbClr val="00008C"/>
                </a:solidFill>
                <a:latin typeface="Arial" pitchFamily="34" charset="0"/>
              </a:defRPr>
            </a:lvl2pPr>
            <a:lvl3pPr marL="1523962" indent="-304792" algn="l" eaLnBrk="0" hangingPunct="0">
              <a:spcBef>
                <a:spcPct val="30000"/>
              </a:spcBef>
              <a:buClr>
                <a:srgbClr val="CC00CC"/>
              </a:buClr>
              <a:buSzPct val="110000"/>
              <a:buFont typeface="Wingdings 3" pitchFamily="18" charset="2"/>
              <a:buChar char=""/>
              <a:defRPr sz="2933">
                <a:solidFill>
                  <a:srgbClr val="00008C"/>
                </a:solidFill>
                <a:latin typeface="Arial" pitchFamily="34" charset="0"/>
              </a:defRPr>
            </a:lvl3pPr>
            <a:lvl4pPr marL="2133547" indent="-304792" algn="l" eaLnBrk="0" hangingPunct="0">
              <a:spcBef>
                <a:spcPct val="30000"/>
              </a:spcBef>
              <a:buClr>
                <a:srgbClr val="00008C"/>
              </a:buClr>
              <a:buFont typeface="Wingdings 3" pitchFamily="18" charset="2"/>
              <a:buChar char=""/>
              <a:defRPr sz="2667">
                <a:solidFill>
                  <a:srgbClr val="00008C"/>
                </a:solidFill>
                <a:latin typeface="Arial" pitchFamily="34" charset="0"/>
              </a:defRPr>
            </a:lvl4pPr>
            <a:lvl5pPr marL="2743131" indent="-304792" algn="l" eaLnBrk="0" hangingPunct="0">
              <a:spcBef>
                <a:spcPct val="30000"/>
              </a:spcBef>
              <a:buClr>
                <a:srgbClr val="FF6600"/>
              </a:buClr>
              <a:buFont typeface="Wingdings 3" pitchFamily="18" charset="2"/>
              <a:buChar char=""/>
              <a:defRPr b="1">
                <a:solidFill>
                  <a:srgbClr val="00008C"/>
                </a:solidFill>
                <a:latin typeface="Arial" pitchFamily="34" charset="0"/>
              </a:defRPr>
            </a:lvl5pPr>
            <a:lvl6pPr marL="3352716" indent="-30479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6600"/>
              </a:buClr>
              <a:buFont typeface="Wingdings 3" pitchFamily="18" charset="2"/>
              <a:buChar char=""/>
              <a:defRPr b="1">
                <a:solidFill>
                  <a:srgbClr val="00008C"/>
                </a:solidFill>
                <a:latin typeface="Arial" pitchFamily="34" charset="0"/>
              </a:defRPr>
            </a:lvl6pPr>
            <a:lvl7pPr marL="3962301" indent="-30479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6600"/>
              </a:buClr>
              <a:buFont typeface="Wingdings 3" pitchFamily="18" charset="2"/>
              <a:buChar char=""/>
              <a:defRPr b="1">
                <a:solidFill>
                  <a:srgbClr val="00008C"/>
                </a:solidFill>
                <a:latin typeface="Arial" pitchFamily="34" charset="0"/>
              </a:defRPr>
            </a:lvl7pPr>
            <a:lvl8pPr marL="4571886" indent="-30479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6600"/>
              </a:buClr>
              <a:buFont typeface="Wingdings 3" pitchFamily="18" charset="2"/>
              <a:buChar char=""/>
              <a:defRPr b="1">
                <a:solidFill>
                  <a:srgbClr val="00008C"/>
                </a:solidFill>
                <a:latin typeface="Arial" pitchFamily="34" charset="0"/>
              </a:defRPr>
            </a:lvl8pPr>
            <a:lvl9pPr marL="5181470" indent="-304792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6600"/>
              </a:buClr>
              <a:buFont typeface="Wingdings 3" pitchFamily="18" charset="2"/>
              <a:buChar char=""/>
              <a:defRPr b="1">
                <a:solidFill>
                  <a:srgbClr val="00008C"/>
                </a:solidFill>
                <a:latin typeface="Arial" pitchFamily="34" charset="0"/>
              </a:defRPr>
            </a:lvl9pPr>
          </a:lstStyle>
          <a:p>
            <a:pPr marL="0" marR="0" lvl="0" indent="0" algn="ctr" defTabSz="914377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 3" pitchFamily="18" charset="2"/>
              <a:buNone/>
              <a:tabLst/>
              <a:defRPr/>
            </a:pPr>
            <a:r>
              <a:rPr kumimoji="0" lang="en-US" alt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8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Denise Whitelock, TEASIG March</a:t>
            </a:r>
          </a:p>
        </p:txBody>
      </p:sp>
      <p:pic>
        <p:nvPicPr>
          <p:cNvPr id="1536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1450"/>
            <a:ext cx="12204701" cy="7029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7340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A15EF4-81B3-7FD4-EB0F-834655AD62E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6295" y="150329"/>
            <a:ext cx="10766703" cy="1143000"/>
          </a:xfrm>
        </p:spPr>
        <p:txBody>
          <a:bodyPr/>
          <a:lstStyle/>
          <a:p>
            <a:r>
              <a:rPr lang="en-GB" dirty="0"/>
              <a:t>Coding Teachers feedback comments with Bales categories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9E0621E-6C0C-8538-3E9B-B4AB523A4E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213" y="1293329"/>
            <a:ext cx="10463492" cy="48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966185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35A52B-AC61-6D39-5FDC-9276CF04A1D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13915" y="115353"/>
            <a:ext cx="10766703" cy="497161"/>
          </a:xfrm>
        </p:spPr>
        <p:txBody>
          <a:bodyPr/>
          <a:lstStyle/>
          <a:p>
            <a:r>
              <a:rPr lang="en-GB" dirty="0"/>
              <a:t>Teacher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F02008-97E6-471F-4E83-D002468CF8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915" y="707714"/>
            <a:ext cx="10766703" cy="289311"/>
          </a:xfrm>
        </p:spPr>
        <p:txBody>
          <a:bodyPr/>
          <a:lstStyle/>
          <a:p>
            <a:r>
              <a:rPr lang="en-GB" altLang="en-US" sz="3200" dirty="0"/>
              <a:t>Identifying trends: H801</a:t>
            </a:r>
            <a:endParaRPr lang="en-GB" sz="3200" dirty="0"/>
          </a:p>
          <a:p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110993F9-C5B2-7DD1-663E-9990A672DD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938" y="1381538"/>
            <a:ext cx="8276896" cy="5446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88780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EXT" val="{Short Title}     © Infosys Consulting {Creation date:yyyy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EXT" val="{Short Title}     © Infosys Consulting {Creation date:yyyy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s">
  <a:themeElements>
    <a:clrScheme name="Open University ">
      <a:dk1>
        <a:srgbClr val="060645"/>
      </a:dk1>
      <a:lt1>
        <a:srgbClr val="FFFFFF"/>
      </a:lt1>
      <a:dk2>
        <a:srgbClr val="060645"/>
      </a:dk2>
      <a:lt2>
        <a:srgbClr val="FEFFFF"/>
      </a:lt2>
      <a:accent1>
        <a:srgbClr val="1C46C0"/>
      </a:accent1>
      <a:accent2>
        <a:srgbClr val="66EEFA"/>
      </a:accent2>
      <a:accent3>
        <a:srgbClr val="7DFFD3"/>
      </a:accent3>
      <a:accent4>
        <a:srgbClr val="FF8A77"/>
      </a:accent4>
      <a:accent5>
        <a:srgbClr val="FFB3FF"/>
      </a:accent5>
      <a:accent6>
        <a:srgbClr val="FFF388"/>
      </a:accent6>
      <a:hlink>
        <a:srgbClr val="FF8A77"/>
      </a:hlink>
      <a:folHlink>
        <a:srgbClr val="7DFFD3"/>
      </a:folHlink>
    </a:clrScheme>
    <a:fontScheme name="Custom 7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U-Powerpoint-Template-Master" id="{C62F22CB-6147-F642-90D0-FAAC7572420C}" vid="{AB24DCB6-B19B-4A4B-82AA-A443AC496DAE}"/>
    </a:ext>
  </a:extLst>
</a:theme>
</file>

<file path=ppt/theme/theme10.xml><?xml version="1.0" encoding="utf-8"?>
<a:theme xmlns:a="http://schemas.openxmlformats.org/drawingml/2006/main" name="3_OU Layouts">
  <a:themeElements>
    <a:clrScheme name="OU Theme Colours">
      <a:dk1>
        <a:srgbClr val="000000"/>
      </a:dk1>
      <a:lt1>
        <a:srgbClr val="FFFFFF"/>
      </a:lt1>
      <a:dk2>
        <a:srgbClr val="A7A9AC"/>
      </a:dk2>
      <a:lt2>
        <a:srgbClr val="CCCCCC"/>
      </a:lt2>
      <a:accent1>
        <a:srgbClr val="1D499B"/>
      </a:accent1>
      <a:accent2>
        <a:srgbClr val="F26522"/>
      </a:accent2>
      <a:accent3>
        <a:srgbClr val="ED2891"/>
      </a:accent3>
      <a:accent4>
        <a:srgbClr val="00B7B2"/>
      </a:accent4>
      <a:accent5>
        <a:srgbClr val="A7A9AC"/>
      </a:accent5>
      <a:accent6>
        <a:srgbClr val="000000"/>
      </a:accent6>
      <a:hlink>
        <a:srgbClr val="5490D0"/>
      </a:hlink>
      <a:folHlink>
        <a:srgbClr val="716F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OU Layouts">
  <a:themeElements>
    <a:clrScheme name="OU Theme Colours">
      <a:dk1>
        <a:srgbClr val="000000"/>
      </a:dk1>
      <a:lt1>
        <a:srgbClr val="FFFFFF"/>
      </a:lt1>
      <a:dk2>
        <a:srgbClr val="A7A9AC"/>
      </a:dk2>
      <a:lt2>
        <a:srgbClr val="CCCCCC"/>
      </a:lt2>
      <a:accent1>
        <a:srgbClr val="1D499B"/>
      </a:accent1>
      <a:accent2>
        <a:srgbClr val="F26522"/>
      </a:accent2>
      <a:accent3>
        <a:srgbClr val="ED2891"/>
      </a:accent3>
      <a:accent4>
        <a:srgbClr val="00B7B2"/>
      </a:accent4>
      <a:accent5>
        <a:srgbClr val="A7A9AC"/>
      </a:accent5>
      <a:accent6>
        <a:srgbClr val="000000"/>
      </a:accent6>
      <a:hlink>
        <a:srgbClr val="5490D0"/>
      </a:hlink>
      <a:folHlink>
        <a:srgbClr val="716F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73262_OU_Presentation_Template_WIDE_UK.pptx" id="{0D03CF9A-D069-4DB5-98CC-BA9287862A76}" vid="{F0F73387-2611-4D57-B067-6DE4A4C30FF6}"/>
    </a:ext>
  </a:extLst>
</a:theme>
</file>

<file path=ppt/theme/theme12.xml><?xml version="1.0" encoding="utf-8"?>
<a:theme xmlns:a="http://schemas.openxmlformats.org/drawingml/2006/main" name="1_Chapter Headings / Dividers">
  <a:themeElements>
    <a:clrScheme name="Open University ">
      <a:dk1>
        <a:srgbClr val="060645"/>
      </a:dk1>
      <a:lt1>
        <a:srgbClr val="FFFFFF"/>
      </a:lt1>
      <a:dk2>
        <a:srgbClr val="060645"/>
      </a:dk2>
      <a:lt2>
        <a:srgbClr val="FEFFFF"/>
      </a:lt2>
      <a:accent1>
        <a:srgbClr val="1C46C0"/>
      </a:accent1>
      <a:accent2>
        <a:srgbClr val="66EEFA"/>
      </a:accent2>
      <a:accent3>
        <a:srgbClr val="7DFFD3"/>
      </a:accent3>
      <a:accent4>
        <a:srgbClr val="FF8A77"/>
      </a:accent4>
      <a:accent5>
        <a:srgbClr val="FFB3FF"/>
      </a:accent5>
      <a:accent6>
        <a:srgbClr val="FFF388"/>
      </a:accent6>
      <a:hlink>
        <a:srgbClr val="FF8A77"/>
      </a:hlink>
      <a:folHlink>
        <a:srgbClr val="7DFFD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U_Powerpoint Template_England_Accessable.potx" id="{2A2DC71C-83A7-4503-A10A-9A2277307DA4}" vid="{E6697964-0098-45A5-A68F-45809E852513}"/>
    </a:ext>
  </a:extLst>
</a:theme>
</file>

<file path=ppt/theme/theme13.xml><?xml version="1.0" encoding="utf-8"?>
<a:theme xmlns:a="http://schemas.openxmlformats.org/drawingml/2006/main" name="2_Chapter Headings / Divider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U_Powerpoint Template_England_Accessable.potx" id="{2A2DC71C-83A7-4503-A10A-9A2277307DA4}" vid="{E6697964-0098-45A5-A68F-45809E852513}"/>
    </a:ext>
  </a:extLst>
</a:theme>
</file>

<file path=ppt/theme/theme14.xml><?xml version="1.0" encoding="utf-8"?>
<a:theme xmlns:a="http://schemas.openxmlformats.org/drawingml/2006/main" name="5_OU Layouts">
  <a:themeElements>
    <a:clrScheme name="OU Theme Colours">
      <a:dk1>
        <a:srgbClr val="000000"/>
      </a:dk1>
      <a:lt1>
        <a:srgbClr val="FFFFFF"/>
      </a:lt1>
      <a:dk2>
        <a:srgbClr val="A7A9AC"/>
      </a:dk2>
      <a:lt2>
        <a:srgbClr val="CCCCCC"/>
      </a:lt2>
      <a:accent1>
        <a:srgbClr val="1D499B"/>
      </a:accent1>
      <a:accent2>
        <a:srgbClr val="F26522"/>
      </a:accent2>
      <a:accent3>
        <a:srgbClr val="ED2891"/>
      </a:accent3>
      <a:accent4>
        <a:srgbClr val="00B7B2"/>
      </a:accent4>
      <a:accent5>
        <a:srgbClr val="A7A9AC"/>
      </a:accent5>
      <a:accent6>
        <a:srgbClr val="000000"/>
      </a:accent6>
      <a:hlink>
        <a:srgbClr val="5490D0"/>
      </a:hlink>
      <a:folHlink>
        <a:srgbClr val="716F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73262_OU_Presentation_Template_WIDE_UK.pptx" id="{0D03CF9A-D069-4DB5-98CC-BA9287862A76}" vid="{F0F73387-2611-4D57-B067-6DE4A4C30FF6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s Slides">
  <a:themeElements>
    <a:clrScheme name="Open University ">
      <a:dk1>
        <a:srgbClr val="060645"/>
      </a:dk1>
      <a:lt1>
        <a:srgbClr val="FFFFFF"/>
      </a:lt1>
      <a:dk2>
        <a:srgbClr val="060645"/>
      </a:dk2>
      <a:lt2>
        <a:srgbClr val="FEFFFF"/>
      </a:lt2>
      <a:accent1>
        <a:srgbClr val="1C46C0"/>
      </a:accent1>
      <a:accent2>
        <a:srgbClr val="66EEFA"/>
      </a:accent2>
      <a:accent3>
        <a:srgbClr val="7DFFD3"/>
      </a:accent3>
      <a:accent4>
        <a:srgbClr val="FF8A77"/>
      </a:accent4>
      <a:accent5>
        <a:srgbClr val="FFB3FF"/>
      </a:accent5>
      <a:accent6>
        <a:srgbClr val="FFF388"/>
      </a:accent6>
      <a:hlink>
        <a:srgbClr val="FF8A77"/>
      </a:hlink>
      <a:folHlink>
        <a:srgbClr val="7DFFD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U-Powerpoint-Template-Master" id="{C62F22CB-6147-F642-90D0-FAAC7572420C}" vid="{60A6B559-7EF3-1146-8945-35F68351DF66}"/>
    </a:ext>
  </a:extLst>
</a:theme>
</file>

<file path=ppt/theme/theme3.xml><?xml version="1.0" encoding="utf-8"?>
<a:theme xmlns:a="http://schemas.openxmlformats.org/drawingml/2006/main" name="Chapter Headings / Dividers">
  <a:themeElements>
    <a:clrScheme name="Open University ">
      <a:dk1>
        <a:srgbClr val="060645"/>
      </a:dk1>
      <a:lt1>
        <a:srgbClr val="FFFFFF"/>
      </a:lt1>
      <a:dk2>
        <a:srgbClr val="060645"/>
      </a:dk2>
      <a:lt2>
        <a:srgbClr val="FEFFFF"/>
      </a:lt2>
      <a:accent1>
        <a:srgbClr val="1C46C0"/>
      </a:accent1>
      <a:accent2>
        <a:srgbClr val="66EEFA"/>
      </a:accent2>
      <a:accent3>
        <a:srgbClr val="7DFFD3"/>
      </a:accent3>
      <a:accent4>
        <a:srgbClr val="FF8A77"/>
      </a:accent4>
      <a:accent5>
        <a:srgbClr val="FFB3FF"/>
      </a:accent5>
      <a:accent6>
        <a:srgbClr val="FFF388"/>
      </a:accent6>
      <a:hlink>
        <a:srgbClr val="FF8A77"/>
      </a:hlink>
      <a:folHlink>
        <a:srgbClr val="7DFFD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U-Powerpoint-Template-Master" id="{C62F22CB-6147-F642-90D0-FAAC7572420C}" vid="{45991D4C-FE3A-DD49-9F9D-812C6DA697D5}"/>
    </a:ext>
  </a:extLst>
</a:theme>
</file>

<file path=ppt/theme/theme4.xml><?xml version="1.0" encoding="utf-8"?>
<a:theme xmlns:a="http://schemas.openxmlformats.org/drawingml/2006/main" name="Slide Options">
  <a:themeElements>
    <a:clrScheme name="Custom 1">
      <a:dk1>
        <a:srgbClr val="060645"/>
      </a:dk1>
      <a:lt1>
        <a:srgbClr val="FFFFFF"/>
      </a:lt1>
      <a:dk2>
        <a:srgbClr val="060645"/>
      </a:dk2>
      <a:lt2>
        <a:srgbClr val="FEFFFF"/>
      </a:lt2>
      <a:accent1>
        <a:srgbClr val="1C46C0"/>
      </a:accent1>
      <a:accent2>
        <a:srgbClr val="66EEFA"/>
      </a:accent2>
      <a:accent3>
        <a:srgbClr val="FF8A77"/>
      </a:accent3>
      <a:accent4>
        <a:srgbClr val="7DFFD3"/>
      </a:accent4>
      <a:accent5>
        <a:srgbClr val="FFB3FF"/>
      </a:accent5>
      <a:accent6>
        <a:srgbClr val="FFF388"/>
      </a:accent6>
      <a:hlink>
        <a:srgbClr val="1C46C0"/>
      </a:hlink>
      <a:folHlink>
        <a:srgbClr val="FF8A77"/>
      </a:folHlink>
    </a:clrScheme>
    <a:fontScheme name="Custom 2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U-Powerpoint-Template-Master" id="{C62F22CB-6147-F642-90D0-FAAC7572420C}" vid="{F7B079B8-8FBA-9E46-A97C-4ADCB3A31155}"/>
    </a:ext>
  </a:extLst>
</a:theme>
</file>

<file path=ppt/theme/theme5.xml><?xml version="1.0" encoding="utf-8"?>
<a:theme xmlns:a="http://schemas.openxmlformats.org/drawingml/2006/main" name="End Slides">
  <a:themeElements>
    <a:clrScheme name="Open University ">
      <a:dk1>
        <a:srgbClr val="060645"/>
      </a:dk1>
      <a:lt1>
        <a:srgbClr val="FFFFFF"/>
      </a:lt1>
      <a:dk2>
        <a:srgbClr val="060645"/>
      </a:dk2>
      <a:lt2>
        <a:srgbClr val="FEFFFF"/>
      </a:lt2>
      <a:accent1>
        <a:srgbClr val="1C46C0"/>
      </a:accent1>
      <a:accent2>
        <a:srgbClr val="66EEFA"/>
      </a:accent2>
      <a:accent3>
        <a:srgbClr val="7DFFD3"/>
      </a:accent3>
      <a:accent4>
        <a:srgbClr val="FF8A77"/>
      </a:accent4>
      <a:accent5>
        <a:srgbClr val="FFB3FF"/>
      </a:accent5>
      <a:accent6>
        <a:srgbClr val="FFF388"/>
      </a:accent6>
      <a:hlink>
        <a:srgbClr val="FF8A77"/>
      </a:hlink>
      <a:folHlink>
        <a:srgbClr val="7DFFD3"/>
      </a:folHlink>
    </a:clrScheme>
    <a:fontScheme name="OU Poppins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U-Powerpoint-Template-Master" id="{C62F22CB-6147-F642-90D0-FAAC7572420C}" vid="{EB94B822-F5A1-864D-A2F5-29356FFCDE5D}"/>
    </a:ext>
  </a:extLst>
</a:theme>
</file>

<file path=ppt/theme/theme6.xml><?xml version="1.0" encoding="utf-8"?>
<a:theme xmlns:a="http://schemas.openxmlformats.org/drawingml/2006/main" name="OU Title">
  <a:themeElements>
    <a:clrScheme name="OU Theme Colours">
      <a:dk1>
        <a:srgbClr val="000000"/>
      </a:dk1>
      <a:lt1>
        <a:srgbClr val="FFFFFF"/>
      </a:lt1>
      <a:dk2>
        <a:srgbClr val="A7A9AC"/>
      </a:dk2>
      <a:lt2>
        <a:srgbClr val="CCCCCC"/>
      </a:lt2>
      <a:accent1>
        <a:srgbClr val="1D499B"/>
      </a:accent1>
      <a:accent2>
        <a:srgbClr val="F26522"/>
      </a:accent2>
      <a:accent3>
        <a:srgbClr val="ED2891"/>
      </a:accent3>
      <a:accent4>
        <a:srgbClr val="00B7B2"/>
      </a:accent4>
      <a:accent5>
        <a:srgbClr val="A7A9AC"/>
      </a:accent5>
      <a:accent6>
        <a:srgbClr val="000000"/>
      </a:accent6>
      <a:hlink>
        <a:srgbClr val="5490D0"/>
      </a:hlink>
      <a:folHlink>
        <a:srgbClr val="716F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Autofit/>
      </a:bodyPr>
      <a:lstStyle>
        <a:defPPr algn="l"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73262_OU_Presentation_Template_WIDE_UK.pptx" id="{0D03CF9A-D069-4DB5-98CC-BA9287862A76}" vid="{EF1B13A4-813D-44E3-93C5-C503883F126B}"/>
    </a:ext>
  </a:extLst>
</a:theme>
</file>

<file path=ppt/theme/theme7.xml><?xml version="1.0" encoding="utf-8"?>
<a:theme xmlns:a="http://schemas.openxmlformats.org/drawingml/2006/main" name="OU Layouts">
  <a:themeElements>
    <a:clrScheme name="OU Theme Colours">
      <a:dk1>
        <a:srgbClr val="000000"/>
      </a:dk1>
      <a:lt1>
        <a:srgbClr val="FFFFFF"/>
      </a:lt1>
      <a:dk2>
        <a:srgbClr val="A7A9AC"/>
      </a:dk2>
      <a:lt2>
        <a:srgbClr val="CCCCCC"/>
      </a:lt2>
      <a:accent1>
        <a:srgbClr val="1D499B"/>
      </a:accent1>
      <a:accent2>
        <a:srgbClr val="F26522"/>
      </a:accent2>
      <a:accent3>
        <a:srgbClr val="ED2891"/>
      </a:accent3>
      <a:accent4>
        <a:srgbClr val="00B7B2"/>
      </a:accent4>
      <a:accent5>
        <a:srgbClr val="A7A9AC"/>
      </a:accent5>
      <a:accent6>
        <a:srgbClr val="000000"/>
      </a:accent6>
      <a:hlink>
        <a:srgbClr val="5490D0"/>
      </a:hlink>
      <a:folHlink>
        <a:srgbClr val="716F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73262_OU_Presentation_Template_WIDE_UK.pptx" id="{0D03CF9A-D069-4DB5-98CC-BA9287862A76}" vid="{F0F73387-2611-4D57-B067-6DE4A4C30FF6}"/>
    </a:ext>
  </a:extLst>
</a:theme>
</file>

<file path=ppt/theme/theme8.xml><?xml version="1.0" encoding="utf-8"?>
<a:theme xmlns:a="http://schemas.openxmlformats.org/drawingml/2006/main" name="2_OU Layouts">
  <a:themeElements>
    <a:clrScheme name="OU Colou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E4B9B"/>
      </a:accent1>
      <a:accent2>
        <a:srgbClr val="ED2891"/>
      </a:accent2>
      <a:accent3>
        <a:srgbClr val="00B7B2"/>
      </a:accent3>
      <a:accent4>
        <a:srgbClr val="F26522"/>
      </a:accent4>
      <a:accent5>
        <a:srgbClr val="FFD400"/>
      </a:accent5>
      <a:accent6>
        <a:srgbClr val="716F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.OU_STANDARD.potx" id="{2DA0E078-245D-4E9B-8A12-43E4C56B78FB}" vid="{E71F6A81-7D12-4207-BA77-D48B227BF69D}"/>
    </a:ext>
  </a:extLst>
</a:theme>
</file>

<file path=ppt/theme/theme9.xml><?xml version="1.0" encoding="utf-8"?>
<a:theme xmlns:a="http://schemas.openxmlformats.org/drawingml/2006/main" name="1_OU Layouts">
  <a:themeElements>
    <a:clrScheme name="OU Theme Colours">
      <a:dk1>
        <a:srgbClr val="000000"/>
      </a:dk1>
      <a:lt1>
        <a:srgbClr val="FFFFFF"/>
      </a:lt1>
      <a:dk2>
        <a:srgbClr val="A7A9AC"/>
      </a:dk2>
      <a:lt2>
        <a:srgbClr val="CCCCCC"/>
      </a:lt2>
      <a:accent1>
        <a:srgbClr val="1D499B"/>
      </a:accent1>
      <a:accent2>
        <a:srgbClr val="F26522"/>
      </a:accent2>
      <a:accent3>
        <a:srgbClr val="ED2891"/>
      </a:accent3>
      <a:accent4>
        <a:srgbClr val="00B7B2"/>
      </a:accent4>
      <a:accent5>
        <a:srgbClr val="A7A9AC"/>
      </a:accent5>
      <a:accent6>
        <a:srgbClr val="000000"/>
      </a:accent6>
      <a:hlink>
        <a:srgbClr val="5490D0"/>
      </a:hlink>
      <a:folHlink>
        <a:srgbClr val="716F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538C4AAC11F744BAF87C743D6AA025" ma:contentTypeVersion="6" ma:contentTypeDescription="Create a new document." ma:contentTypeScope="" ma:versionID="81b99e07bfb753f4d60197b435a2a1f2">
  <xsd:schema xmlns:xsd="http://www.w3.org/2001/XMLSchema" xmlns:xs="http://www.w3.org/2001/XMLSchema" xmlns:p="http://schemas.microsoft.com/office/2006/metadata/properties" xmlns:ns2="d4c07a8c-edb2-4d3d-bbc0-902ca3b33e91" xmlns:ns3="6cadd505-7bdb-465c-a941-626f453c73a4" targetNamespace="http://schemas.microsoft.com/office/2006/metadata/properties" ma:root="true" ma:fieldsID="d958dc6e3fc524f536c76321b4085b9a" ns2:_="" ns3:_="">
    <xsd:import namespace="d4c07a8c-edb2-4d3d-bbc0-902ca3b33e91"/>
    <xsd:import namespace="6cadd505-7bdb-465c-a941-626f453c73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c07a8c-edb2-4d3d-bbc0-902ca3b33e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add505-7bdb-465c-a941-626f453c73a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6CD3E3-2AD4-4BFA-B062-CD9F3FC3775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1F123D-72E4-47AA-AF87-050EE8541186}">
  <ds:schemaRefs>
    <ds:schemaRef ds:uri="http://schemas.microsoft.com/office/2006/documentManagement/types"/>
    <ds:schemaRef ds:uri="d4c07a8c-edb2-4d3d-bbc0-902ca3b33e91"/>
    <ds:schemaRef ds:uri="6cadd505-7bdb-465c-a941-626f453c73a4"/>
    <ds:schemaRef ds:uri="http://www.w3.org/XML/1998/namespace"/>
    <ds:schemaRef ds:uri="http://purl.org/dc/dcmitype/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2BDE8687-5407-4F02-B395-533681C0EE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c07a8c-edb2-4d3d-bbc0-902ca3b33e91"/>
    <ds:schemaRef ds:uri="6cadd505-7bdb-465c-a941-626f453c73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U-Powerpoint-Template-Master</Template>
  <TotalTime>1726</TotalTime>
  <Words>1441</Words>
  <Application>Microsoft Office PowerPoint</Application>
  <PresentationFormat>Widescreen</PresentationFormat>
  <Paragraphs>196</Paragraphs>
  <Slides>34</Slides>
  <Notes>16</Notes>
  <HiddenSlides>2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65" baseType="lpstr">
      <vt:lpstr>Abadi</vt:lpstr>
      <vt:lpstr>Aptos</vt:lpstr>
      <vt:lpstr>Aptos Display</vt:lpstr>
      <vt:lpstr>Arial</vt:lpstr>
      <vt:lpstr>Calibri</vt:lpstr>
      <vt:lpstr>Calibri Light</vt:lpstr>
      <vt:lpstr>Courier New</vt:lpstr>
      <vt:lpstr>Memento</vt:lpstr>
      <vt:lpstr>Open Sans</vt:lpstr>
      <vt:lpstr>Poppins</vt:lpstr>
      <vt:lpstr>Poppins SemiBold</vt:lpstr>
      <vt:lpstr>ReithSans</vt:lpstr>
      <vt:lpstr>Times New Roman</vt:lpstr>
      <vt:lpstr>Wingdings</vt:lpstr>
      <vt:lpstr>Wingdings 3</vt:lpstr>
      <vt:lpstr>Covers</vt:lpstr>
      <vt:lpstr>Contents Slides</vt:lpstr>
      <vt:lpstr>Chapter Headings / Dividers</vt:lpstr>
      <vt:lpstr>Slide Options</vt:lpstr>
      <vt:lpstr>End Slides</vt:lpstr>
      <vt:lpstr>OU Title</vt:lpstr>
      <vt:lpstr>OU Layouts</vt:lpstr>
      <vt:lpstr>2_OU Layouts</vt:lpstr>
      <vt:lpstr>1_OU Layouts</vt:lpstr>
      <vt:lpstr>3_OU Layouts</vt:lpstr>
      <vt:lpstr>4_OU Layouts</vt:lpstr>
      <vt:lpstr>1_Chapter Headings / Dividers</vt:lpstr>
      <vt:lpstr>2_Chapter Headings / Dividers</vt:lpstr>
      <vt:lpstr>5_OU Layouts</vt:lpstr>
      <vt:lpstr>Office Theme</vt:lpstr>
      <vt:lpstr>think-cell Slide</vt:lpstr>
      <vt:lpstr>Intro Slide Title 1</vt:lpstr>
      <vt:lpstr>Slide Title 6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lide Title 31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 Slide Title 1</dc:title>
  <dc:subject>OU Master PowerPoint Template with accessibility guidance and best practice tips</dc:subject>
  <dc:creator>Denise Whitelock</dc:creator>
  <cp:keywords>OU Master PowerPoint Template</cp:keywords>
  <dc:description/>
  <cp:lastModifiedBy>Natalia.Kiran</cp:lastModifiedBy>
  <cp:revision>244</cp:revision>
  <dcterms:created xsi:type="dcterms:W3CDTF">2023-04-18T10:13:13Z</dcterms:created>
  <dcterms:modified xsi:type="dcterms:W3CDTF">2024-04-15T16:43:5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538C4AAC11F744BAF87C743D6AA025</vt:lpwstr>
  </property>
  <property fmtid="{D5CDD505-2E9C-101B-9397-08002B2CF9AE}" pid="3" name="MediaServiceImageTags">
    <vt:lpwstr/>
  </property>
</Properties>
</file>